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09" r:id="rId1"/>
  </p:sldMasterIdLst>
  <p:notesMasterIdLst>
    <p:notesMasterId r:id="rId30"/>
  </p:notesMasterIdLst>
  <p:sldIdLst>
    <p:sldId id="737" r:id="rId2"/>
    <p:sldId id="553" r:id="rId3"/>
    <p:sldId id="754" r:id="rId4"/>
    <p:sldId id="757" r:id="rId5"/>
    <p:sldId id="764" r:id="rId6"/>
    <p:sldId id="772" r:id="rId7"/>
    <p:sldId id="819" r:id="rId8"/>
    <p:sldId id="818" r:id="rId9"/>
    <p:sldId id="809" r:id="rId10"/>
    <p:sldId id="790" r:id="rId11"/>
    <p:sldId id="762" r:id="rId12"/>
    <p:sldId id="783" r:id="rId13"/>
    <p:sldId id="758" r:id="rId14"/>
    <p:sldId id="760" r:id="rId15"/>
    <p:sldId id="769" r:id="rId16"/>
    <p:sldId id="780" r:id="rId17"/>
    <p:sldId id="742" r:id="rId18"/>
    <p:sldId id="816" r:id="rId19"/>
    <p:sldId id="817" r:id="rId20"/>
    <p:sldId id="294" r:id="rId21"/>
    <p:sldId id="786" r:id="rId22"/>
    <p:sldId id="787" r:id="rId23"/>
    <p:sldId id="788" r:id="rId24"/>
    <p:sldId id="800" r:id="rId25"/>
    <p:sldId id="801" r:id="rId26"/>
    <p:sldId id="799" r:id="rId27"/>
    <p:sldId id="782" r:id="rId28"/>
    <p:sldId id="807" r:id="rId29"/>
  </p:sldIdLst>
  <p:sldSz cx="9906000" cy="6858000" type="A4"/>
  <p:notesSz cx="6807200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본문" id="{4FFA1512-3CE3-430C-A7CB-8F8566B15A78}">
          <p14:sldIdLst>
            <p14:sldId id="737"/>
            <p14:sldId id="553"/>
            <p14:sldId id="754"/>
            <p14:sldId id="757"/>
            <p14:sldId id="764"/>
            <p14:sldId id="772"/>
            <p14:sldId id="819"/>
            <p14:sldId id="818"/>
            <p14:sldId id="809"/>
            <p14:sldId id="790"/>
            <p14:sldId id="762"/>
            <p14:sldId id="783"/>
            <p14:sldId id="758"/>
            <p14:sldId id="760"/>
            <p14:sldId id="769"/>
            <p14:sldId id="780"/>
            <p14:sldId id="742"/>
            <p14:sldId id="816"/>
            <p14:sldId id="817"/>
            <p14:sldId id="294"/>
          </p14:sldIdLst>
        </p14:section>
        <p14:section name="본문과의 링크 있음" id="{E94DB079-BEA6-4696-986C-1AC2E8DA5DB6}">
          <p14:sldIdLst>
            <p14:sldId id="786"/>
            <p14:sldId id="787"/>
            <p14:sldId id="788"/>
            <p14:sldId id="800"/>
            <p14:sldId id="801"/>
            <p14:sldId id="799"/>
            <p14:sldId id="782"/>
            <p14:sldId id="80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6023" userDrawn="1">
          <p15:clr>
            <a:srgbClr val="A4A3A4"/>
          </p15:clr>
        </p15:guide>
        <p15:guide id="3" pos="217" userDrawn="1">
          <p15:clr>
            <a:srgbClr val="A4A3A4"/>
          </p15:clr>
        </p15:guide>
        <p15:guide id="4" orient="horz" pos="981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2260" userDrawn="1">
          <p15:clr>
            <a:srgbClr val="A4A3A4"/>
          </p15:clr>
        </p15:guide>
        <p15:guide id="7" pos="31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203864"/>
    <a:srgbClr val="364244"/>
    <a:srgbClr val="4072C4"/>
    <a:srgbClr val="4472C4"/>
    <a:srgbClr val="0000CC"/>
    <a:srgbClr val="9AB4DE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5131" autoAdjust="0"/>
  </p:normalViewPr>
  <p:slideViewPr>
    <p:cSldViewPr snapToGrid="0">
      <p:cViewPr>
        <p:scale>
          <a:sx n="75" d="100"/>
          <a:sy n="75" d="100"/>
        </p:scale>
        <p:origin x="1440" y="77"/>
      </p:cViewPr>
      <p:guideLst>
        <p:guide orient="horz" pos="2183"/>
        <p:guide pos="6023"/>
        <p:guide pos="217"/>
        <p:guide orient="horz" pos="981"/>
        <p:guide orient="horz" pos="3974"/>
        <p:guide orient="horz" pos="2260"/>
        <p:guide pos="312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787" cy="498693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9" y="1"/>
            <a:ext cx="2949787" cy="498693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>
              <a:defRPr sz="1200"/>
            </a:lvl1pPr>
          </a:lstStyle>
          <a:p>
            <a:fld id="{0140E48D-E381-4E81-A5FD-97506CD42DD2}" type="datetimeFigureOut">
              <a:rPr lang="ko-KR" altLang="en-US" smtClean="0"/>
              <a:t>2023-09-2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6" rIns="91431" bIns="45716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83308"/>
            <a:ext cx="5445760" cy="3913614"/>
          </a:xfrm>
          <a:prstGeom prst="rect">
            <a:avLst/>
          </a:prstGeom>
        </p:spPr>
        <p:txBody>
          <a:bodyPr vert="horz" lIns="91431" tIns="45716" rIns="91431" bIns="45716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40648"/>
            <a:ext cx="2949787" cy="498692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9" y="9440648"/>
            <a:ext cx="2949787" cy="498692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>
              <a:defRPr sz="1200"/>
            </a:lvl1pPr>
          </a:lstStyle>
          <a:p>
            <a:fld id="{C13A3FB2-7272-4B78-9852-941A9EB8CA8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34799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36DFA9-5274-4A57-AEC3-CE955C7AB00E}" type="slidenum">
              <a:rPr lang="ko-KR" altLang="en-US" smtClean="0"/>
              <a:pPr>
                <a:defRPr/>
              </a:pPr>
              <a:t>0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3129264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8"/>
          <p:cNvCxnSpPr>
            <a:cxnSpLocks noChangeShapeType="1"/>
          </p:cNvCxnSpPr>
          <p:nvPr userDrawn="1"/>
        </p:nvCxnSpPr>
        <p:spPr bwMode="auto">
          <a:xfrm>
            <a:off x="0" y="614363"/>
            <a:ext cx="9906000" cy="0"/>
          </a:xfrm>
          <a:prstGeom prst="line">
            <a:avLst/>
          </a:prstGeom>
          <a:noFill/>
          <a:ln w="25400" algn="ctr">
            <a:solidFill>
              <a:srgbClr val="D9EAF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" name="Rectangle 6"/>
          <p:cNvSpPr txBox="1">
            <a:spLocks noChangeArrowheads="1"/>
          </p:cNvSpPr>
          <p:nvPr userDrawn="1"/>
        </p:nvSpPr>
        <p:spPr>
          <a:xfrm>
            <a:off x="4219350" y="6583935"/>
            <a:ext cx="1467301" cy="229443"/>
          </a:xfrm>
          <a:prstGeom prst="rect">
            <a:avLst/>
          </a:prstGeom>
          <a:ln/>
        </p:spPr>
        <p:txBody>
          <a:bodyPr lIns="91436" tIns="45718" rIns="91436" bIns="45718"/>
          <a:lstStyle>
            <a:lvl1pPr>
              <a:defRPr/>
            </a:lvl1pPr>
          </a:lstStyle>
          <a:p>
            <a:pPr algn="ctr" defTabSz="91436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C582D422-196C-4F53-866F-1041A01B9347}" type="slidenum">
              <a:rPr kumimoji="1" lang="zh-CN" altLang="en-US" sz="1000" b="1" smtClean="0">
                <a:solidFill>
                  <a:prstClr val="white">
                    <a:lumMod val="50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 algn="ctr" defTabSz="91436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kumimoji="1" lang="zh-CN" altLang="en-US" sz="1000" b="1" dirty="0">
                <a:solidFill>
                  <a:prstClr val="white">
                    <a:lumMod val="50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  </a:t>
            </a:r>
            <a:r>
              <a:rPr kumimoji="1" lang="en-US" altLang="zh-CN" sz="1000" b="1" dirty="0">
                <a:solidFill>
                  <a:prstClr val="white">
                    <a:lumMod val="50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  </a:t>
            </a:r>
            <a:r>
              <a:rPr kumimoji="1" lang="en-US" altLang="zh-CN" sz="1000" b="1" dirty="0" smtClean="0">
                <a:solidFill>
                  <a:prstClr val="white">
                    <a:lumMod val="50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9</a:t>
            </a:r>
            <a:endParaRPr kumimoji="1" lang="en-US" altLang="zh-CN" sz="1000" b="1" dirty="0">
              <a:solidFill>
                <a:prstClr val="white">
                  <a:lumMod val="50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텍스트 개체 틀 9"/>
          <p:cNvSpPr>
            <a:spLocks noGrp="1"/>
          </p:cNvSpPr>
          <p:nvPr>
            <p:ph type="body" sz="quarter" idx="13"/>
          </p:nvPr>
        </p:nvSpPr>
        <p:spPr>
          <a:xfrm>
            <a:off x="345513" y="736489"/>
            <a:ext cx="9216000" cy="648000"/>
          </a:xfrm>
        </p:spPr>
        <p:txBody>
          <a:bodyPr vert="horz" lIns="91440" tIns="45720" rIns="91440" bIns="45720" rtlCol="0">
            <a:noAutofit/>
          </a:bodyPr>
          <a:lstStyle>
            <a:lvl1pPr latinLnBrk="0">
              <a:lnSpc>
                <a:spcPts val="2400"/>
              </a:lnSpc>
              <a:defRPr lang="ko-KR" altLang="en-US" sz="1800" b="1" baseline="0" dirty="0" smtClean="0">
                <a:latin typeface="맑은 고딕" panose="020B0503020000020004" pitchFamily="50" charset="-127"/>
                <a:ea typeface="+mj-ea"/>
                <a:cs typeface="+mj-cs"/>
              </a:defRPr>
            </a:lvl1pPr>
            <a:lvl2pPr>
              <a:defRPr lang="ko-KR" altLang="en-US" dirty="0" smtClean="0"/>
            </a:lvl2pPr>
            <a:lvl3pPr>
              <a:defRPr lang="ko-KR" altLang="en-US" dirty="0" smtClean="0"/>
            </a:lvl3pPr>
            <a:lvl4pPr>
              <a:defRPr lang="ko-KR" altLang="en-US" dirty="0" smtClean="0"/>
            </a:lvl4pPr>
            <a:lvl5pPr>
              <a:defRPr lang="ko-KR" altLang="en-US" dirty="0"/>
            </a:lvl5pPr>
          </a:lstStyle>
          <a:p>
            <a:pPr lvl="0" latinLnBrk="0">
              <a:lnSpc>
                <a:spcPct val="100000"/>
              </a:lnSpc>
              <a:spcBef>
                <a:spcPct val="0"/>
              </a:spcBef>
              <a:buNone/>
            </a:pPr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12" name="제목 11"/>
          <p:cNvSpPr>
            <a:spLocks noGrp="1"/>
          </p:cNvSpPr>
          <p:nvPr>
            <p:ph type="title"/>
          </p:nvPr>
        </p:nvSpPr>
        <p:spPr>
          <a:xfrm>
            <a:off x="345513" y="209756"/>
            <a:ext cx="4607487" cy="360000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9572437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pos="217">
          <p15:clr>
            <a:srgbClr val="FBAE40"/>
          </p15:clr>
        </p15:guide>
        <p15:guide id="5" pos="6023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8"/>
          <p:cNvCxnSpPr>
            <a:cxnSpLocks noChangeShapeType="1"/>
          </p:cNvCxnSpPr>
          <p:nvPr userDrawn="1"/>
        </p:nvCxnSpPr>
        <p:spPr bwMode="auto">
          <a:xfrm>
            <a:off x="0" y="614363"/>
            <a:ext cx="9906000" cy="0"/>
          </a:xfrm>
          <a:prstGeom prst="line">
            <a:avLst/>
          </a:prstGeom>
          <a:noFill/>
          <a:ln w="25400" algn="ctr">
            <a:solidFill>
              <a:srgbClr val="D9EAF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" name="Rectangle 6"/>
          <p:cNvSpPr txBox="1">
            <a:spLocks noChangeArrowheads="1"/>
          </p:cNvSpPr>
          <p:nvPr userDrawn="1"/>
        </p:nvSpPr>
        <p:spPr>
          <a:xfrm>
            <a:off x="4219350" y="6583935"/>
            <a:ext cx="1467301" cy="229443"/>
          </a:xfrm>
          <a:prstGeom prst="rect">
            <a:avLst/>
          </a:prstGeom>
          <a:ln/>
        </p:spPr>
        <p:txBody>
          <a:bodyPr lIns="91436" tIns="45718" rIns="91436" bIns="45718"/>
          <a:lstStyle>
            <a:lvl1pPr>
              <a:defRPr/>
            </a:lvl1pPr>
          </a:lstStyle>
          <a:p>
            <a:pPr algn="ctr" defTabSz="91436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CN" sz="1000" b="1" dirty="0" smtClean="0">
                <a:solidFill>
                  <a:prstClr val="white">
                    <a:lumMod val="50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[</a:t>
            </a:r>
            <a:r>
              <a:rPr kumimoji="1" lang="ko-KR" altLang="en-US" sz="1000" b="1" smtClean="0">
                <a:solidFill>
                  <a:prstClr val="white">
                    <a:lumMod val="50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참고</a:t>
            </a:r>
            <a:r>
              <a:rPr kumimoji="1" lang="en-US" altLang="ko-KR" sz="1000" b="1" dirty="0" smtClean="0">
                <a:solidFill>
                  <a:prstClr val="white">
                    <a:lumMod val="50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]</a:t>
            </a:r>
            <a:endParaRPr kumimoji="1" lang="en-US" altLang="zh-CN" sz="1000" b="1" dirty="0">
              <a:solidFill>
                <a:prstClr val="white">
                  <a:lumMod val="50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텍스트 개체 틀 9"/>
          <p:cNvSpPr>
            <a:spLocks noGrp="1"/>
          </p:cNvSpPr>
          <p:nvPr>
            <p:ph type="body" sz="quarter" idx="13"/>
          </p:nvPr>
        </p:nvSpPr>
        <p:spPr>
          <a:xfrm>
            <a:off x="345513" y="736489"/>
            <a:ext cx="9216000" cy="648000"/>
          </a:xfrm>
        </p:spPr>
        <p:txBody>
          <a:bodyPr vert="horz" lIns="91440" tIns="45720" rIns="91440" bIns="45720" rtlCol="0">
            <a:noAutofit/>
          </a:bodyPr>
          <a:lstStyle>
            <a:lvl1pPr latinLnBrk="0">
              <a:lnSpc>
                <a:spcPts val="2400"/>
              </a:lnSpc>
              <a:defRPr lang="ko-KR" altLang="en-US" sz="1800" b="1" baseline="0" dirty="0" smtClean="0">
                <a:latin typeface="맑은 고딕" panose="020B0503020000020004" pitchFamily="50" charset="-127"/>
                <a:ea typeface="+mj-ea"/>
                <a:cs typeface="+mj-cs"/>
              </a:defRPr>
            </a:lvl1pPr>
            <a:lvl2pPr>
              <a:defRPr lang="ko-KR" altLang="en-US" dirty="0" smtClean="0"/>
            </a:lvl2pPr>
            <a:lvl3pPr>
              <a:defRPr lang="ko-KR" altLang="en-US" dirty="0" smtClean="0"/>
            </a:lvl3pPr>
            <a:lvl4pPr>
              <a:defRPr lang="ko-KR" altLang="en-US" dirty="0" smtClean="0"/>
            </a:lvl4pPr>
            <a:lvl5pPr>
              <a:defRPr lang="ko-KR" altLang="en-US" dirty="0"/>
            </a:lvl5pPr>
          </a:lstStyle>
          <a:p>
            <a:pPr lvl="0" latinLnBrk="0">
              <a:lnSpc>
                <a:spcPct val="100000"/>
              </a:lnSpc>
              <a:spcBef>
                <a:spcPct val="0"/>
              </a:spcBef>
              <a:buNone/>
            </a:pPr>
            <a:r>
              <a:rPr lang="ko-KR" altLang="en-US" dirty="0"/>
              <a:t>마스터 텍스트 스타일을 편집합니다</a:t>
            </a:r>
          </a:p>
        </p:txBody>
      </p:sp>
      <p:sp>
        <p:nvSpPr>
          <p:cNvPr id="12" name="제목 11"/>
          <p:cNvSpPr>
            <a:spLocks noGrp="1"/>
          </p:cNvSpPr>
          <p:nvPr>
            <p:ph type="title"/>
          </p:nvPr>
        </p:nvSpPr>
        <p:spPr>
          <a:xfrm>
            <a:off x="345513" y="209756"/>
            <a:ext cx="4607487" cy="360000"/>
          </a:xfrm>
          <a:prstGeom prst="rect">
            <a:avLst/>
          </a:prstGeom>
        </p:spPr>
        <p:txBody>
          <a:bodyPr/>
          <a:lstStyle>
            <a:lvl1pPr>
              <a:defRPr sz="2000" b="1"/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5443174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pos="217">
          <p15:clr>
            <a:srgbClr val="FBAE40"/>
          </p15:clr>
        </p15:guide>
        <p15:guide id="5" pos="6023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5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065004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DEF71A76-50FA-4017-8193-85392BC05805}" type="datetimeFigureOut">
              <a:rPr lang="ko-KR" altLang="en-US" smtClean="0"/>
              <a:t>2023-09-2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556C2-9F1A-480E-A4B9-E3C8C577DA3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91780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408752" y="6476996"/>
            <a:ext cx="1088496" cy="26161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fld id="{61C337B3-9DE2-4102-99E3-E789530AE41A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0101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30" r:id="rId2"/>
    <p:sldLayoutId id="2147483729" r:id="rId3"/>
    <p:sldLayoutId id="214748373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24.xml"/><Relationship Id="rId2" Type="http://schemas.openxmlformats.org/officeDocument/2006/relationships/slide" Target="slide26.xml"/><Relationship Id="rId1" Type="http://schemas.openxmlformats.org/officeDocument/2006/relationships/slideLayout" Target="../slideLayouts/slideLayout1.xml"/><Relationship Id="rId4" Type="http://schemas.openxmlformats.org/officeDocument/2006/relationships/slide" Target="slide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image" Target="../media/image9.JPG"/><Relationship Id="rId7" Type="http://schemas.openxmlformats.org/officeDocument/2006/relationships/image" Target="../media/image13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slide" Target="slide5.xm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14.jp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" Target="slide6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" Target="slide1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slide" Target="slide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image" Target="../media/image920.png"/><Relationship Id="rId7" Type="http://schemas.openxmlformats.org/officeDocument/2006/relationships/image" Target="../media/image18.png"/><Relationship Id="rId2" Type="http://schemas.openxmlformats.org/officeDocument/2006/relationships/image" Target="../media/image9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940.png"/><Relationship Id="rId4" Type="http://schemas.openxmlformats.org/officeDocument/2006/relationships/image" Target="../media/image93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0.png"/><Relationship Id="rId3" Type="http://schemas.openxmlformats.org/officeDocument/2006/relationships/image" Target="../media/image140.png"/><Relationship Id="rId7" Type="http://schemas.openxmlformats.org/officeDocument/2006/relationships/image" Target="../media/image180.pn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0.png"/><Relationship Id="rId5" Type="http://schemas.openxmlformats.org/officeDocument/2006/relationships/image" Target="../media/image160.png"/><Relationship Id="rId4" Type="http://schemas.openxmlformats.org/officeDocument/2006/relationships/image" Target="../media/image150.png"/><Relationship Id="rId9" Type="http://schemas.openxmlformats.org/officeDocument/2006/relationships/slide" Target="slide1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4" Type="http://schemas.openxmlformats.org/officeDocument/2006/relationships/slide" Target="slide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4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5" Type="http://schemas.openxmlformats.org/officeDocument/2006/relationships/slide" Target="slide22.xml"/><Relationship Id="rId4" Type="http://schemas.openxmlformats.org/officeDocument/2006/relationships/slide" Target="slide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28.xml"/><Relationship Id="rId2" Type="http://schemas.openxmlformats.org/officeDocument/2006/relationships/slide" Target="slide2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Line 5"/>
          <p:cNvSpPr>
            <a:spLocks noChangeShapeType="1"/>
          </p:cNvSpPr>
          <p:nvPr/>
        </p:nvSpPr>
        <p:spPr bwMode="auto">
          <a:xfrm>
            <a:off x="895976" y="766896"/>
            <a:ext cx="8079124" cy="0"/>
          </a:xfrm>
          <a:prstGeom prst="line">
            <a:avLst/>
          </a:prstGeom>
          <a:noFill/>
          <a:ln w="12700">
            <a:solidFill>
              <a:srgbClr val="1D1D75"/>
            </a:solidFill>
            <a:round/>
            <a:headEnd/>
            <a:tailEnd/>
          </a:ln>
          <a:effectLst>
            <a:prstShdw prst="shdw17" dist="17961" dir="2700000">
              <a:srgbClr val="111146"/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sz="2400"/>
          </a:p>
        </p:txBody>
      </p:sp>
      <p:sp>
        <p:nvSpPr>
          <p:cNvPr id="13315" name="Rectangle 6"/>
          <p:cNvSpPr>
            <a:spLocks noChangeArrowheads="1"/>
          </p:cNvSpPr>
          <p:nvPr/>
        </p:nvSpPr>
        <p:spPr bwMode="auto">
          <a:xfrm>
            <a:off x="462851" y="338412"/>
            <a:ext cx="9010458" cy="972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10000"/>
              </a:lnSpc>
              <a:defRPr/>
            </a:pPr>
            <a:r>
              <a:rPr lang="ko-KR" altLang="en-US" sz="24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ㅇㅇㅇ</a:t>
            </a:r>
            <a:r>
              <a:rPr lang="ko-KR" altLang="en-US" sz="2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사업본부 </a:t>
            </a:r>
            <a:r>
              <a:rPr lang="ko-KR" altLang="en-US" sz="2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</a:t>
            </a:r>
            <a:r>
              <a:rPr lang="ko-KR" altLang="en-US" sz="2400" b="1" dirty="0" err="1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레디니스</a:t>
            </a:r>
            <a:r>
              <a:rPr lang="en-US" altLang="ko-KR" sz="2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(readiness)</a:t>
            </a:r>
            <a:r>
              <a:rPr lang="ko-KR" altLang="en-US" sz="2400" b="1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2400" b="1" dirty="0" smtClea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 eaLnBrk="1" latinLnBrk="1" hangingPunct="1">
              <a:lnSpc>
                <a:spcPct val="110000"/>
              </a:lnSpc>
              <a:defRPr/>
            </a:pPr>
            <a:r>
              <a:rPr lang="ko-KR" altLang="en-US" sz="2800" b="1" dirty="0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종료 보고서</a:t>
            </a:r>
            <a:endParaRPr lang="ko-KR" altLang="en-US" sz="36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3940130" y="5578953"/>
            <a:ext cx="2067730" cy="703373"/>
            <a:chOff x="3940130" y="5921853"/>
            <a:chExt cx="2067730" cy="703373"/>
          </a:xfrm>
        </p:grpSpPr>
        <p:grpSp>
          <p:nvGrpSpPr>
            <p:cNvPr id="10" name="그룹 9"/>
            <p:cNvGrpSpPr/>
            <p:nvPr/>
          </p:nvGrpSpPr>
          <p:grpSpPr>
            <a:xfrm>
              <a:off x="3940130" y="5921853"/>
              <a:ext cx="2067730" cy="341596"/>
              <a:chOff x="4206296" y="5874523"/>
              <a:chExt cx="1553516" cy="341596"/>
            </a:xfrm>
          </p:grpSpPr>
          <p:sp>
            <p:nvSpPr>
              <p:cNvPr id="12" name="Rectangle 2"/>
              <p:cNvSpPr>
                <a:spLocks noChangeArrowheads="1"/>
              </p:cNvSpPr>
              <p:nvPr/>
            </p:nvSpPr>
            <p:spPr bwMode="auto">
              <a:xfrm>
                <a:off x="4232672" y="5874523"/>
                <a:ext cx="1527140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굴림" charset="-127"/>
                    <a:ea typeface="굴림" charset="-127"/>
                  </a:defRPr>
                </a:lvl9pPr>
              </a:lstStyle>
              <a:p>
                <a:pPr algn="ctr" eaLnBrk="1" latinLnBrk="1" hangingPunct="1"/>
                <a:r>
                  <a:rPr lang="ko-KR" altLang="en-US" sz="1600" b="1" dirty="0" err="1" smtClean="0">
                    <a:latin typeface="맑은 고딕" pitchFamily="50" charset="-127"/>
                    <a:ea typeface="맑은 고딕" pitchFamily="50" charset="-127"/>
                  </a:rPr>
                  <a:t>ㅇㅇ</a:t>
                </a:r>
                <a:r>
                  <a:rPr lang="en-US" altLang="ko-KR" sz="1600" b="1" dirty="0" smtClean="0">
                    <a:latin typeface="맑은 고딕" pitchFamily="50" charset="-127"/>
                    <a:ea typeface="맑은 고딕" pitchFamily="50" charset="-127"/>
                  </a:rPr>
                  <a:t>. </a:t>
                </a:r>
                <a:r>
                  <a:rPr lang="ko-KR" altLang="en-US" sz="1600" b="1" dirty="0" err="1" smtClean="0">
                    <a:latin typeface="맑은 고딕" pitchFamily="50" charset="-127"/>
                    <a:ea typeface="맑은 고딕" pitchFamily="50" charset="-127"/>
                  </a:rPr>
                  <a:t>ㅇㅇ</a:t>
                </a:r>
                <a:r>
                  <a:rPr lang="en-US" altLang="ko-KR" sz="1600" b="1" dirty="0" smtClean="0">
                    <a:latin typeface="맑은 고딕" pitchFamily="50" charset="-127"/>
                    <a:ea typeface="맑은 고딕" pitchFamily="50" charset="-127"/>
                  </a:rPr>
                  <a:t>. </a:t>
                </a:r>
                <a:r>
                  <a:rPr lang="ko-KR" altLang="en-US" sz="1600" b="1" dirty="0" err="1" smtClean="0">
                    <a:latin typeface="맑은 고딕" pitchFamily="50" charset="-127"/>
                    <a:ea typeface="맑은 고딕" pitchFamily="50" charset="-127"/>
                  </a:rPr>
                  <a:t>ㅇㅇ</a:t>
                </a:r>
                <a:r>
                  <a:rPr lang="en-US" altLang="ko-KR" sz="1600" b="1" dirty="0" smtClean="0">
                    <a:latin typeface="맑은 고딕" pitchFamily="50" charset="-127"/>
                    <a:ea typeface="맑은 고딕" pitchFamily="50" charset="-127"/>
                  </a:rPr>
                  <a:t>(</a:t>
                </a:r>
                <a:r>
                  <a:rPr lang="ko-KR" altLang="en-US" sz="1600" b="1" dirty="0" smtClean="0">
                    <a:latin typeface="맑은 고딕" pitchFamily="50" charset="-127"/>
                    <a:ea typeface="맑은 고딕" pitchFamily="50" charset="-127"/>
                  </a:rPr>
                  <a:t>水</a:t>
                </a:r>
                <a:r>
                  <a:rPr lang="en-US" altLang="ko-KR" sz="1600" b="1" dirty="0" smtClean="0">
                    <a:latin typeface="맑은 고딕" pitchFamily="50" charset="-127"/>
                    <a:ea typeface="맑은 고딕" pitchFamily="50" charset="-127"/>
                  </a:rPr>
                  <a:t>)</a:t>
                </a:r>
                <a:endParaRPr lang="ko-KR" altLang="en-US" sz="1600" b="1" dirty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" name="Line 9"/>
              <p:cNvSpPr>
                <a:spLocks noChangeShapeType="1"/>
              </p:cNvSpPr>
              <p:nvPr/>
            </p:nvSpPr>
            <p:spPr bwMode="auto">
              <a:xfrm>
                <a:off x="4206296" y="6216119"/>
                <a:ext cx="1440656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ko-KR" altLang="en-US" dirty="0"/>
              </a:p>
            </p:txBody>
          </p:sp>
        </p:grpSp>
        <p:sp>
          <p:nvSpPr>
            <p:cNvPr id="11" name="직사각형 10"/>
            <p:cNvSpPr/>
            <p:nvPr/>
          </p:nvSpPr>
          <p:spPr>
            <a:xfrm>
              <a:off x="4190377" y="6347008"/>
              <a:ext cx="1470275" cy="27821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ko-KR" altLang="en-US" sz="1200" b="1" dirty="0" err="1" smtClean="0">
                  <a:solidFill>
                    <a:srgbClr val="000000"/>
                  </a:solidFill>
                  <a:latin typeface="맑은 고딕" pitchFamily="50" charset="-127"/>
                </a:rPr>
                <a:t>ㅇㅇㅇ</a:t>
              </a:r>
              <a:r>
                <a:rPr lang="ko-KR" altLang="en-US" sz="1200" b="1" dirty="0" smtClean="0">
                  <a:solidFill>
                    <a:srgbClr val="000000"/>
                  </a:solidFill>
                  <a:latin typeface="맑은 고딕" pitchFamily="50" charset="-127"/>
                </a:rPr>
                <a:t> </a:t>
              </a:r>
              <a:r>
                <a:rPr lang="ko-KR" altLang="en-US" sz="1200" b="1" dirty="0" err="1" smtClean="0">
                  <a:solidFill>
                    <a:srgbClr val="000000"/>
                  </a:solidFill>
                  <a:latin typeface="맑은 고딕" pitchFamily="50" charset="-127"/>
                </a:rPr>
                <a:t>과제수행팀</a:t>
              </a:r>
              <a:endParaRPr lang="ko-KR" altLang="en-US" sz="12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1886893" y="1377730"/>
            <a:ext cx="6296525" cy="390547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108000" anchor="t" anchorCtr="0"/>
          <a:lstStyle/>
          <a:p>
            <a:pPr marL="571491" indent="-342900">
              <a:lnSpc>
                <a:spcPct val="150000"/>
              </a:lnSpc>
              <a:buAutoNum type="arabicPeriod"/>
              <a:defRPr/>
            </a:pP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비즈니스 요구사항</a:t>
            </a:r>
            <a:endParaRPr lang="en-US" altLang="ko-KR" sz="1400" b="1" kern="0" dirty="0" smtClean="0">
              <a:solidFill>
                <a:sysClr val="windowText" lastClr="000000"/>
              </a:solidFill>
              <a:latin typeface="맑은 고딕" panose="020B0503020000020004" pitchFamily="50" charset="-127"/>
            </a:endParaRPr>
          </a:p>
          <a:p>
            <a:pPr marL="571491" indent="-342900">
              <a:lnSpc>
                <a:spcPct val="150000"/>
              </a:lnSpc>
              <a:buAutoNum type="arabicPeriod"/>
              <a:defRPr/>
            </a:pP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데이터 </a:t>
            </a:r>
            <a:r>
              <a:rPr lang="ko-KR" altLang="en-US" sz="1400" b="1" kern="0" dirty="0" err="1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레디니스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과제 개요</a:t>
            </a:r>
            <a:endParaRPr lang="en-US" altLang="ko-KR" sz="1400" b="1" kern="0" dirty="0">
              <a:solidFill>
                <a:sysClr val="windowText" lastClr="000000"/>
              </a:solidFill>
              <a:latin typeface="맑은 고딕" panose="020B0503020000020004" pitchFamily="50" charset="-127"/>
            </a:endParaRPr>
          </a:p>
          <a:p>
            <a:pPr marL="571491" indent="-342900">
              <a:lnSpc>
                <a:spcPct val="150000"/>
              </a:lnSpc>
              <a:buAutoNum type="arabicPeriod"/>
              <a:defRPr/>
            </a:pPr>
            <a:r>
              <a:rPr lang="ko-KR" altLang="en-US" sz="1400" b="1" kern="0" dirty="0" err="1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ㅇㅇ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– 1)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데이터를 연결하고 이해하였습니다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. </a:t>
            </a:r>
            <a:endParaRPr lang="en-US" altLang="ko-KR" sz="1400" b="1" kern="0" dirty="0" smtClean="0">
              <a:solidFill>
                <a:sysClr val="windowText" lastClr="000000"/>
              </a:solidFill>
              <a:latin typeface="맑은 고딕" panose="020B0503020000020004" pitchFamily="50" charset="-127"/>
            </a:endParaRPr>
          </a:p>
          <a:p>
            <a:pPr marL="228591">
              <a:lnSpc>
                <a:spcPct val="150000"/>
              </a:lnSpc>
              <a:defRPr/>
            </a:pP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            2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)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데이터에 귀를 </a:t>
            </a:r>
            <a:r>
              <a:rPr lang="ko-KR" altLang="en-US" sz="1400" b="1" kern="0" dirty="0" err="1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귀울여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보았습니다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.</a:t>
            </a:r>
          </a:p>
          <a:p>
            <a:pPr marL="228591">
              <a:lnSpc>
                <a:spcPct val="150000"/>
              </a:lnSpc>
              <a:defRPr/>
            </a:pP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            3) </a:t>
            </a: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단선 원인을 분석해 보았습니다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. </a:t>
            </a:r>
            <a:endParaRPr lang="en-US" altLang="ko-KR" sz="1400" b="1" kern="0" dirty="0">
              <a:solidFill>
                <a:sysClr val="windowText" lastClr="000000"/>
              </a:solidFill>
              <a:latin typeface="맑은 고딕" panose="020B0503020000020004" pitchFamily="50" charset="-127"/>
            </a:endParaRPr>
          </a:p>
          <a:p>
            <a:pPr marL="228591">
              <a:lnSpc>
                <a:spcPct val="150000"/>
              </a:lnSpc>
              <a:defRPr/>
            </a:pP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             4)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현재 확보된 데이터 만으로 공정을 예측해 보았습니다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. </a:t>
            </a:r>
          </a:p>
          <a:p>
            <a:pPr marL="228591">
              <a:lnSpc>
                <a:spcPct val="150000"/>
              </a:lnSpc>
              <a:defRPr/>
            </a:pP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4. </a:t>
            </a:r>
            <a:r>
              <a:rPr lang="ko-KR" altLang="en-US" sz="1400" b="1" kern="0" dirty="0" err="1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ㅇㅇ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– 1)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데이터를 연결하고 이해하였습니다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. </a:t>
            </a:r>
          </a:p>
          <a:p>
            <a:pPr marL="228591">
              <a:lnSpc>
                <a:spcPct val="150000"/>
              </a:lnSpc>
              <a:defRPr/>
            </a:pP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            2</a:t>
            </a: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)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데이터에 귀를 </a:t>
            </a:r>
            <a:r>
              <a:rPr lang="ko-KR" altLang="en-US" sz="1400" b="1" kern="0" dirty="0" err="1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귀울여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보았습니다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.</a:t>
            </a:r>
          </a:p>
          <a:p>
            <a:pPr marL="228591">
              <a:lnSpc>
                <a:spcPct val="150000"/>
              </a:lnSpc>
              <a:defRPr/>
            </a:pP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           3) </a:t>
            </a:r>
            <a:r>
              <a:rPr lang="ko-KR" altLang="en-US" sz="1400" b="1" kern="0" dirty="0" err="1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밀착성</a:t>
            </a: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원인을 분석해 보았습니다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. </a:t>
            </a:r>
            <a:endParaRPr lang="en-US" altLang="ko-KR" sz="1400" b="1" kern="0" dirty="0">
              <a:solidFill>
                <a:sysClr val="windowText" lastClr="000000"/>
              </a:solidFill>
              <a:latin typeface="맑은 고딕" panose="020B0503020000020004" pitchFamily="50" charset="-127"/>
            </a:endParaRPr>
          </a:p>
          <a:p>
            <a:pPr marL="228591">
              <a:lnSpc>
                <a:spcPct val="150000"/>
              </a:lnSpc>
              <a:defRPr/>
            </a:pP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            4)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현재 확보된 데이터 만으로 공정을 예측해 보았습니다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.</a:t>
            </a:r>
          </a:p>
          <a:p>
            <a:pPr marL="228591">
              <a:lnSpc>
                <a:spcPct val="150000"/>
              </a:lnSpc>
              <a:defRPr/>
            </a:pP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           5) </a:t>
            </a: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새로운 </a:t>
            </a:r>
            <a:r>
              <a:rPr lang="ko-KR" altLang="en-US" sz="1400" b="1" kern="0" dirty="0" err="1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관리상하한</a:t>
            </a:r>
            <a:r>
              <a:rPr lang="ko-KR" altLang="en-US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제시</a:t>
            </a:r>
            <a:r>
              <a:rPr lang="en-US" altLang="ko-KR" sz="1400" b="1" kern="0" dirty="0" smtClean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 </a:t>
            </a:r>
          </a:p>
          <a:p>
            <a:pPr marL="228591">
              <a:lnSpc>
                <a:spcPct val="150000"/>
              </a:lnSpc>
              <a:defRPr/>
            </a:pPr>
            <a:r>
              <a:rPr lang="en-US" altLang="ko-KR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5. </a:t>
            </a:r>
            <a:r>
              <a:rPr lang="ko-KR" altLang="en-US" sz="1400" b="1" kern="0" dirty="0">
                <a:solidFill>
                  <a:sysClr val="windowText" lastClr="000000"/>
                </a:solidFill>
                <a:latin typeface="맑은 고딕" panose="020B0503020000020004" pitchFamily="50" charset="-127"/>
              </a:rPr>
              <a:t>과제 요약 및 앞으로의 방향성 제안</a:t>
            </a:r>
            <a:endParaRPr lang="en-US" altLang="ko-KR" sz="1400" b="1" kern="0" dirty="0">
              <a:solidFill>
                <a:sysClr val="windowText" lastClr="000000"/>
              </a:solidFill>
              <a:latin typeface="맑은 고딕" panose="020B0503020000020004" pitchFamily="50" charset="-127"/>
            </a:endParaRPr>
          </a:p>
          <a:p>
            <a:pPr marL="228591">
              <a:lnSpc>
                <a:spcPct val="150000"/>
              </a:lnSpc>
              <a:defRPr/>
            </a:pPr>
            <a:endParaRPr lang="en-US" altLang="ko-KR" sz="1400" b="1" kern="0" dirty="0" smtClean="0">
              <a:solidFill>
                <a:sysClr val="windowText" lastClr="000000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41219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3. </a:t>
            </a:r>
            <a:r>
              <a:rPr lang="ko-KR" altLang="en-US" dirty="0" err="1" smtClean="0">
                <a:latin typeface="+mj-ea"/>
              </a:rPr>
              <a:t>ㅇㅇ</a:t>
            </a:r>
            <a:r>
              <a:rPr lang="en-US" altLang="ko-KR" dirty="0" smtClean="0">
                <a:latin typeface="+mj-ea"/>
              </a:rPr>
              <a:t> </a:t>
            </a:r>
            <a:r>
              <a:rPr lang="en-US" altLang="ko-KR" dirty="0">
                <a:latin typeface="+mj-ea"/>
              </a:rPr>
              <a:t>– 3) </a:t>
            </a:r>
            <a:r>
              <a:rPr lang="ko-KR" altLang="en-US" dirty="0" err="1" smtClean="0">
                <a:latin typeface="+mj-ea"/>
              </a:rPr>
              <a:t>ㅇㅇ</a:t>
            </a:r>
            <a:r>
              <a:rPr lang="ko-KR" altLang="en-US" dirty="0" smtClean="0">
                <a:latin typeface="+mj-ea"/>
              </a:rPr>
              <a:t> </a:t>
            </a:r>
            <a:r>
              <a:rPr lang="ko-KR" altLang="en-US" dirty="0">
                <a:latin typeface="+mj-ea"/>
              </a:rPr>
              <a:t>원인을 분석 해 보았습니다</a:t>
            </a:r>
            <a:r>
              <a:rPr lang="en-US" altLang="ko-KR" dirty="0">
                <a:latin typeface="+mj-ea"/>
              </a:rPr>
              <a:t>. </a:t>
            </a:r>
            <a:r>
              <a:rPr lang="en-US" altLang="ko-KR" dirty="0" smtClean="0">
                <a:latin typeface="+mj-ea"/>
              </a:rPr>
              <a:t>(4/4)</a:t>
            </a:r>
            <a:endParaRPr lang="en-US" altLang="ko-KR" dirty="0">
              <a:latin typeface="+mj-ea"/>
            </a:endParaRPr>
          </a:p>
        </p:txBody>
      </p:sp>
      <p:graphicFrame>
        <p:nvGraphicFramePr>
          <p:cNvPr id="23" name="표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1496172"/>
              </p:ext>
            </p:extLst>
          </p:nvPr>
        </p:nvGraphicFramePr>
        <p:xfrm>
          <a:off x="396587" y="2027383"/>
          <a:ext cx="9329304" cy="3588328"/>
        </p:xfrm>
        <a:graphic>
          <a:graphicData uri="http://schemas.openxmlformats.org/drawingml/2006/table">
            <a:tbl>
              <a:tblPr/>
              <a:tblGrid>
                <a:gridCol w="7240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6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36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56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169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1576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8696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15912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항목</a:t>
                      </a:r>
                      <a:r>
                        <a:rPr lang="ko-KR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재 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r>
                        <a:rPr lang="ko-KR" alt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급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상 그룹 평균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정상 그룹 평균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추천하는 </a:t>
                      </a:r>
                      <a:r>
                        <a:rPr lang="ko-KR" alt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경계값</a:t>
                      </a:r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주</a:t>
                      </a:r>
                      <a:r>
                        <a:rPr lang="en-US" altLang="ko-K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)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용 방안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591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 하한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 상한</a:t>
                      </a:r>
                      <a:endParaRPr lang="ko-KR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808">
                <a:tc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높으면 안 좋은 값인데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상이 더 높음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2808">
                <a:tc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높으면 안 좋은 값인데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05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정상이 더 높음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808">
                <a:tc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높으면 안 좋은 값인데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정상이 더 높음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2808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808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2808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높으면 안 좋은 값인데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05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정상이 더 높음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2808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미 없음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2808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높으면 안 좋은 값인데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정상이 더 높음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2808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높으면 안 좋은 값인데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정상이 더 높음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2808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높으면 안 좋은 값인데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정상이 더 높음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2808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의미 없음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2808"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높으면 안 좋은 값인데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, 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정상이 더 높음</a:t>
                      </a: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2808">
                <a:tc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낮으면 안 좋은 값인데</a:t>
                      </a:r>
                      <a:r>
                        <a:rPr lang="en-US" altLang="ko-K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상이 더 낮음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493101" y="1492310"/>
            <a:ext cx="48123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0" lvl="1">
              <a:lnSpc>
                <a:spcPct val="120000"/>
              </a:lnSpc>
              <a:spcAft>
                <a:spcPts val="600"/>
              </a:spcAft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Q. 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유의수준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5%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에서 차이가 나는 그룹간을 더 확인 해 보면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..</a:t>
            </a:r>
            <a:endParaRPr lang="ko-KR" altLang="en-US" sz="1300" b="1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9613" y="5852513"/>
            <a:ext cx="90830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☞ 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예상했던 결과와 반대결과가 나옴</a:t>
            </a:r>
            <a:r>
              <a:rPr lang="en-US" altLang="ko-KR" sz="1200" b="1" dirty="0" smtClean="0">
                <a:solidFill>
                  <a:srgbClr val="0000FF"/>
                </a:solidFill>
                <a:latin typeface="+mn-ea"/>
              </a:rPr>
              <a:t>. 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현재 관리한계 기준 단선 발생 그룹이 더 </a:t>
            </a:r>
            <a:r>
              <a:rPr lang="ko-KR" altLang="en-US" sz="1200" b="1" dirty="0" err="1" smtClean="0">
                <a:solidFill>
                  <a:srgbClr val="0000FF"/>
                </a:solidFill>
                <a:latin typeface="+mn-ea"/>
              </a:rPr>
              <a:t>정상스럽고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 </a:t>
            </a:r>
            <a:r>
              <a:rPr lang="ko-KR" altLang="en-US" sz="1200" b="1" dirty="0" err="1" smtClean="0">
                <a:solidFill>
                  <a:srgbClr val="0000FF"/>
                </a:solidFill>
                <a:latin typeface="+mn-ea"/>
              </a:rPr>
              <a:t>ㅇㅇ그룹이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 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더 비정상 스러움</a:t>
            </a:r>
            <a:endParaRPr lang="ko-KR" altLang="en-US" sz="1200" b="1" dirty="0">
              <a:solidFill>
                <a:srgbClr val="0000FF"/>
              </a:solidFill>
              <a:latin typeface="+mn-ea"/>
            </a:endParaRPr>
          </a:p>
        </p:txBody>
      </p:sp>
      <p:grpSp>
        <p:nvGrpSpPr>
          <p:cNvPr id="31" name="그룹 30"/>
          <p:cNvGrpSpPr/>
          <p:nvPr/>
        </p:nvGrpSpPr>
        <p:grpSpPr>
          <a:xfrm>
            <a:off x="130962" y="833613"/>
            <a:ext cx="9870287" cy="350865"/>
            <a:chOff x="130963" y="833613"/>
            <a:chExt cx="5157526" cy="350865"/>
          </a:xfrm>
        </p:grpSpPr>
        <p:sp>
          <p:nvSpPr>
            <p:cNvPr id="32" name="TextBox 31"/>
            <p:cNvSpPr txBox="1"/>
            <p:nvPr/>
          </p:nvSpPr>
          <p:spPr>
            <a:xfrm>
              <a:off x="130963" y="833613"/>
              <a:ext cx="5157526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400" b="1" dirty="0" err="1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ㅇㅇ발생</a:t>
              </a: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 </a:t>
              </a: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그룹과 그 외 그룹간의 통계적 차이 분석</a:t>
              </a:r>
              <a:endPara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endParaRPr>
            </a:p>
          </p:txBody>
        </p:sp>
        <p:cxnSp>
          <p:nvCxnSpPr>
            <p:cNvPr id="33" name="직선 연결선 32"/>
            <p:cNvCxnSpPr/>
            <p:nvPr/>
          </p:nvCxnSpPr>
          <p:spPr>
            <a:xfrm>
              <a:off x="525567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9" name="직사각형 8">
            <a:hlinkClick r:id="" action="ppaction://noaction"/>
          </p:cNvPr>
          <p:cNvSpPr/>
          <p:nvPr/>
        </p:nvSpPr>
        <p:spPr>
          <a:xfrm>
            <a:off x="5305425" y="1538790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smtClean="0">
                <a:solidFill>
                  <a:schemeClr val="tx1"/>
                </a:solidFill>
              </a:rPr>
              <a:t>상세내역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767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+mj-ea"/>
              </a:rPr>
              <a:t>3. </a:t>
            </a:r>
            <a:r>
              <a:rPr lang="ko-KR" altLang="en-US" dirty="0" err="1" smtClean="0">
                <a:latin typeface="+mj-ea"/>
              </a:rPr>
              <a:t>ㅇㅇㅇ</a:t>
            </a:r>
            <a:r>
              <a:rPr lang="en-US" altLang="ko-KR" dirty="0" smtClean="0">
                <a:latin typeface="+mj-ea"/>
              </a:rPr>
              <a:t> </a:t>
            </a:r>
            <a:r>
              <a:rPr lang="en-US" altLang="ko-KR" dirty="0">
                <a:latin typeface="+mj-ea"/>
              </a:rPr>
              <a:t>– 4</a:t>
            </a:r>
            <a:r>
              <a:rPr lang="en-US" altLang="ko-KR" dirty="0" smtClean="0">
                <a:latin typeface="+mj-ea"/>
              </a:rPr>
              <a:t>) </a:t>
            </a:r>
            <a:r>
              <a:rPr lang="ko-KR" altLang="en-US" dirty="0">
                <a:latin typeface="+mj-ea"/>
              </a:rPr>
              <a:t>현재 확보된 데이터 만으로 공정을 예측해 보았습니다</a:t>
            </a:r>
            <a:r>
              <a:rPr lang="en-US" altLang="ko-KR" dirty="0">
                <a:latin typeface="+mj-ea"/>
              </a:rPr>
              <a:t>. </a:t>
            </a:r>
            <a:r>
              <a:rPr lang="en-US" altLang="ko-KR" dirty="0" smtClean="0">
                <a:latin typeface="+mj-ea"/>
              </a:rPr>
              <a:t>(1/2)</a:t>
            </a:r>
            <a:endParaRPr lang="en-US" altLang="ko-KR" dirty="0">
              <a:latin typeface="+mj-ea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57231" y="813098"/>
            <a:ext cx="387492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(1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차</a:t>
            </a: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) </a:t>
            </a:r>
            <a:r>
              <a:rPr kumimoji="1" lang="ko-KR" altLang="en-US" sz="14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예측 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모델 개발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55" name="직선 연결선 54"/>
          <p:cNvCxnSpPr/>
          <p:nvPr/>
        </p:nvCxnSpPr>
        <p:spPr>
          <a:xfrm>
            <a:off x="410534" y="1139022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grpSp>
        <p:nvGrpSpPr>
          <p:cNvPr id="62" name="그룹 61"/>
          <p:cNvGrpSpPr/>
          <p:nvPr/>
        </p:nvGrpSpPr>
        <p:grpSpPr>
          <a:xfrm>
            <a:off x="685800" y="1602241"/>
            <a:ext cx="3789485" cy="1724054"/>
            <a:chOff x="685800" y="1602241"/>
            <a:chExt cx="3789485" cy="1724054"/>
          </a:xfrm>
        </p:grpSpPr>
        <p:sp>
          <p:nvSpPr>
            <p:cNvPr id="63" name="직사각형 62"/>
            <p:cNvSpPr/>
            <p:nvPr/>
          </p:nvSpPr>
          <p:spPr>
            <a:xfrm>
              <a:off x="2269671" y="2179999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64" name="직사각형 63"/>
            <p:cNvSpPr/>
            <p:nvPr/>
          </p:nvSpPr>
          <p:spPr>
            <a:xfrm>
              <a:off x="2964910" y="2179999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65" name="직사각형 64"/>
            <p:cNvSpPr/>
            <p:nvPr/>
          </p:nvSpPr>
          <p:spPr>
            <a:xfrm>
              <a:off x="1589407" y="2467528"/>
              <a:ext cx="654545" cy="2290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tx1"/>
                  </a:solidFill>
                  <a:latin typeface="+mj-ea"/>
                  <a:ea typeface="+mj-ea"/>
                </a:rPr>
                <a:t>ㅇㅇ</a:t>
              </a:r>
              <a:endParaRPr lang="en-US" altLang="ko-KR" sz="900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2269671" y="2467528"/>
              <a:ext cx="654545" cy="2290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tx1"/>
                  </a:solidFill>
                  <a:latin typeface="+mj-ea"/>
                  <a:ea typeface="+mj-ea"/>
                </a:rPr>
                <a:t>ㅇㅇ</a:t>
              </a:r>
              <a:endParaRPr lang="en-US" altLang="ko-KR" sz="900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69" name="직사각형 68"/>
            <p:cNvSpPr/>
            <p:nvPr/>
          </p:nvSpPr>
          <p:spPr>
            <a:xfrm>
              <a:off x="2959515" y="2467528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70" name="직사각형 69"/>
            <p:cNvSpPr/>
            <p:nvPr/>
          </p:nvSpPr>
          <p:spPr>
            <a:xfrm>
              <a:off x="3654546" y="2179999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en-US" altLang="ko-KR" sz="9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71" name="직사각형 70">
              <a:hlinkClick r:id="" action="ppaction://noaction"/>
            </p:cNvPr>
            <p:cNvSpPr/>
            <p:nvPr/>
          </p:nvSpPr>
          <p:spPr>
            <a:xfrm>
              <a:off x="1589407" y="2747737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72" name="직사각형 71"/>
            <p:cNvSpPr/>
            <p:nvPr/>
          </p:nvSpPr>
          <p:spPr>
            <a:xfrm>
              <a:off x="894376" y="2747737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8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8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73" name="직사각형 72"/>
            <p:cNvSpPr/>
            <p:nvPr/>
          </p:nvSpPr>
          <p:spPr>
            <a:xfrm>
              <a:off x="894376" y="2179999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74" name="직사각형 73">
              <a:hlinkClick r:id="" action="ppaction://noaction"/>
            </p:cNvPr>
            <p:cNvSpPr/>
            <p:nvPr/>
          </p:nvSpPr>
          <p:spPr>
            <a:xfrm>
              <a:off x="1589407" y="2179999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75" name="직사각형 74"/>
            <p:cNvSpPr/>
            <p:nvPr/>
          </p:nvSpPr>
          <p:spPr>
            <a:xfrm>
              <a:off x="3654546" y="2467528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76" name="직사각형 75"/>
            <p:cNvSpPr/>
            <p:nvPr/>
          </p:nvSpPr>
          <p:spPr>
            <a:xfrm>
              <a:off x="894376" y="2467528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77" name="직사각형 76"/>
            <p:cNvSpPr/>
            <p:nvPr/>
          </p:nvSpPr>
          <p:spPr>
            <a:xfrm>
              <a:off x="2269671" y="2747737"/>
              <a:ext cx="654545" cy="22909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2">
                    <a:lumMod val="25000"/>
                  </a:schemeClr>
                </a:solidFill>
                <a:latin typeface="+mn-ea"/>
              </a:endParaRPr>
            </a:p>
          </p:txBody>
        </p:sp>
        <p:grpSp>
          <p:nvGrpSpPr>
            <p:cNvPr id="78" name="그룹 77"/>
            <p:cNvGrpSpPr/>
            <p:nvPr/>
          </p:nvGrpSpPr>
          <p:grpSpPr>
            <a:xfrm>
              <a:off x="894376" y="1887716"/>
              <a:ext cx="3414715" cy="229091"/>
              <a:chOff x="692153" y="1849745"/>
              <a:chExt cx="3414715" cy="229091"/>
            </a:xfrm>
          </p:grpSpPr>
          <p:sp>
            <p:nvSpPr>
              <p:cNvPr id="85" name="직사각형 84"/>
              <p:cNvSpPr/>
              <p:nvPr/>
            </p:nvSpPr>
            <p:spPr>
              <a:xfrm>
                <a:off x="2067448" y="1849745"/>
                <a:ext cx="654545" cy="22909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900" dirty="0" err="1" smtClean="0">
                    <a:solidFill>
                      <a:schemeClr val="bg1"/>
                    </a:solidFill>
                    <a:latin typeface="+mn-ea"/>
                  </a:rPr>
                  <a:t>ㅇㅇ</a:t>
                </a:r>
                <a:endParaRPr lang="ko-KR" altLang="en-US" sz="900" dirty="0"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86" name="직사각형 85"/>
              <p:cNvSpPr/>
              <p:nvPr/>
            </p:nvSpPr>
            <p:spPr>
              <a:xfrm>
                <a:off x="2762687" y="1849745"/>
                <a:ext cx="654545" cy="22909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900" dirty="0" err="1" smtClean="0">
                    <a:solidFill>
                      <a:schemeClr val="bg1"/>
                    </a:solidFill>
                    <a:latin typeface="+mn-ea"/>
                  </a:rPr>
                  <a:t>ㅇㅇ</a:t>
                </a:r>
                <a:endParaRPr lang="ko-KR" altLang="en-US" sz="900" dirty="0"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87" name="직사각형 86"/>
              <p:cNvSpPr/>
              <p:nvPr/>
            </p:nvSpPr>
            <p:spPr>
              <a:xfrm>
                <a:off x="3452323" y="1849745"/>
                <a:ext cx="654545" cy="22909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900" dirty="0" err="1" smtClean="0">
                    <a:solidFill>
                      <a:schemeClr val="bg1"/>
                    </a:solidFill>
                    <a:latin typeface="+mn-ea"/>
                  </a:rPr>
                  <a:t>ㅇㅇ</a:t>
                </a:r>
                <a:endParaRPr lang="ko-KR" altLang="en-US" sz="900" dirty="0"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88" name="직사각형 87"/>
              <p:cNvSpPr/>
              <p:nvPr/>
            </p:nvSpPr>
            <p:spPr>
              <a:xfrm>
                <a:off x="692153" y="1849745"/>
                <a:ext cx="654545" cy="22909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900" dirty="0" err="1" smtClean="0">
                    <a:solidFill>
                      <a:schemeClr val="bg1"/>
                    </a:solidFill>
                    <a:latin typeface="+mn-ea"/>
                  </a:rPr>
                  <a:t>ㅇㅇ</a:t>
                </a:r>
                <a:endParaRPr lang="ko-KR" altLang="en-US" sz="900" dirty="0"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89" name="직사각형 88"/>
              <p:cNvSpPr/>
              <p:nvPr/>
            </p:nvSpPr>
            <p:spPr>
              <a:xfrm>
                <a:off x="1387184" y="1849745"/>
                <a:ext cx="654545" cy="22909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900" dirty="0" err="1" smtClean="0">
                    <a:solidFill>
                      <a:schemeClr val="bg1"/>
                    </a:solidFill>
                    <a:latin typeface="+mn-ea"/>
                  </a:rPr>
                  <a:t>ㅇㅇ</a:t>
                </a:r>
                <a:endParaRPr lang="ko-KR" altLang="en-US" sz="900" dirty="0">
                  <a:solidFill>
                    <a:schemeClr val="bg1"/>
                  </a:solidFill>
                  <a:latin typeface="+mn-ea"/>
                </a:endParaRPr>
              </a:p>
            </p:txBody>
          </p:sp>
        </p:grpSp>
        <p:sp>
          <p:nvSpPr>
            <p:cNvPr id="79" name="직사각형 78">
              <a:hlinkClick r:id="" action="ppaction://noaction"/>
            </p:cNvPr>
            <p:cNvSpPr/>
            <p:nvPr/>
          </p:nvSpPr>
          <p:spPr>
            <a:xfrm>
              <a:off x="3654546" y="2747737"/>
              <a:ext cx="654545" cy="22909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2">
                    <a:lumMod val="25000"/>
                  </a:schemeClr>
                </a:solidFill>
                <a:latin typeface="+mn-ea"/>
              </a:endParaRPr>
            </a:p>
          </p:txBody>
        </p:sp>
        <p:sp>
          <p:nvSpPr>
            <p:cNvPr id="80" name="직사각형 79"/>
            <p:cNvSpPr/>
            <p:nvPr/>
          </p:nvSpPr>
          <p:spPr>
            <a:xfrm>
              <a:off x="2964910" y="2747737"/>
              <a:ext cx="654545" cy="22909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2">
                    <a:lumMod val="25000"/>
                  </a:schemeClr>
                </a:solidFill>
                <a:latin typeface="+mn-ea"/>
              </a:endParaRPr>
            </a:p>
          </p:txBody>
        </p:sp>
        <p:sp>
          <p:nvSpPr>
            <p:cNvPr id="81" name="직사각형 80"/>
            <p:cNvSpPr/>
            <p:nvPr/>
          </p:nvSpPr>
          <p:spPr>
            <a:xfrm>
              <a:off x="892210" y="3013327"/>
              <a:ext cx="654545" cy="2290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tx1"/>
                  </a:solidFill>
                  <a:latin typeface="+mj-ea"/>
                  <a:ea typeface="+mj-ea"/>
                </a:rPr>
                <a:t>ㅇㅇ</a:t>
              </a:r>
              <a:endParaRPr lang="ko-KR" altLang="en-US" sz="900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82" name="직사각형 81"/>
            <p:cNvSpPr/>
            <p:nvPr/>
          </p:nvSpPr>
          <p:spPr>
            <a:xfrm>
              <a:off x="1587449" y="3013327"/>
              <a:ext cx="654545" cy="2290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tx1"/>
                  </a:solidFill>
                  <a:latin typeface="+mj-ea"/>
                  <a:ea typeface="+mj-ea"/>
                </a:rPr>
                <a:t>ㅇㅇ</a:t>
              </a:r>
              <a:endParaRPr lang="ko-KR" altLang="en-US" sz="900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83" name="직사각형 82"/>
            <p:cNvSpPr/>
            <p:nvPr/>
          </p:nvSpPr>
          <p:spPr>
            <a:xfrm>
              <a:off x="685800" y="1802295"/>
              <a:ext cx="3789485" cy="1524000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4" name="직사각형 83"/>
            <p:cNvSpPr/>
            <p:nvPr/>
          </p:nvSpPr>
          <p:spPr>
            <a:xfrm>
              <a:off x="2121820" y="1602241"/>
              <a:ext cx="925423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100" dirty="0" smtClean="0"/>
                <a:t>X</a:t>
              </a:r>
              <a:r>
                <a:rPr lang="ko-KR" altLang="en-US" sz="1100" smtClean="0"/>
                <a:t>인자</a:t>
              </a:r>
              <a:r>
                <a:rPr lang="en-US" altLang="ko-KR" sz="1100" dirty="0" smtClean="0"/>
                <a:t>(22</a:t>
              </a:r>
              <a:r>
                <a:rPr lang="ko-KR" altLang="en-US" sz="1100" smtClean="0"/>
                <a:t>개</a:t>
              </a:r>
              <a:r>
                <a:rPr lang="en-US" altLang="ko-KR" sz="1100" dirty="0" smtClean="0"/>
                <a:t>)</a:t>
              </a:r>
              <a:endParaRPr lang="en-US" altLang="ko-KR" sz="1100" dirty="0"/>
            </a:p>
          </p:txBody>
        </p:sp>
      </p:grpSp>
      <p:grpSp>
        <p:nvGrpSpPr>
          <p:cNvPr id="90" name="그룹 89"/>
          <p:cNvGrpSpPr/>
          <p:nvPr/>
        </p:nvGrpSpPr>
        <p:grpSpPr>
          <a:xfrm>
            <a:off x="685800" y="3399725"/>
            <a:ext cx="3789485" cy="569329"/>
            <a:chOff x="486508" y="3352040"/>
            <a:chExt cx="3789485" cy="569329"/>
          </a:xfrm>
        </p:grpSpPr>
        <p:sp>
          <p:nvSpPr>
            <p:cNvPr id="91" name="직사각형 90"/>
            <p:cNvSpPr/>
            <p:nvPr/>
          </p:nvSpPr>
          <p:spPr>
            <a:xfrm>
              <a:off x="486508" y="3490547"/>
              <a:ext cx="3789485" cy="43082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2" name="직사각형 91"/>
            <p:cNvSpPr/>
            <p:nvPr/>
          </p:nvSpPr>
          <p:spPr>
            <a:xfrm>
              <a:off x="1698114" y="3352040"/>
              <a:ext cx="1430748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100" dirty="0" smtClean="0"/>
                <a:t>X</a:t>
              </a:r>
              <a:r>
                <a:rPr lang="ko-KR" altLang="en-US" sz="1100" smtClean="0"/>
                <a:t>인자 파생 변수</a:t>
              </a:r>
              <a:r>
                <a:rPr lang="en-US" altLang="ko-KR" sz="1100" dirty="0" smtClean="0"/>
                <a:t>(5</a:t>
              </a:r>
              <a:r>
                <a:rPr lang="ko-KR" altLang="en-US" sz="1100" smtClean="0"/>
                <a:t>개</a:t>
              </a:r>
              <a:r>
                <a:rPr lang="en-US" altLang="ko-KR" sz="1100" dirty="0" smtClean="0"/>
                <a:t>)</a:t>
              </a:r>
              <a:endParaRPr lang="en-US" altLang="ko-KR" sz="1100" dirty="0"/>
            </a:p>
          </p:txBody>
        </p:sp>
        <p:grpSp>
          <p:nvGrpSpPr>
            <p:cNvPr id="93" name="그룹 92"/>
            <p:cNvGrpSpPr/>
            <p:nvPr/>
          </p:nvGrpSpPr>
          <p:grpSpPr>
            <a:xfrm>
              <a:off x="703876" y="3628722"/>
              <a:ext cx="3414715" cy="229091"/>
              <a:chOff x="692153" y="1849745"/>
              <a:chExt cx="3414715" cy="229091"/>
            </a:xfrm>
          </p:grpSpPr>
          <p:sp>
            <p:nvSpPr>
              <p:cNvPr id="94" name="직사각형 93"/>
              <p:cNvSpPr/>
              <p:nvPr/>
            </p:nvSpPr>
            <p:spPr>
              <a:xfrm>
                <a:off x="2067448" y="1849745"/>
                <a:ext cx="654545" cy="22909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800" dirty="0" err="1" smtClean="0">
                    <a:solidFill>
                      <a:schemeClr val="bg1"/>
                    </a:solidFill>
                    <a:latin typeface="+mn-ea"/>
                  </a:rPr>
                  <a:t>ㅇㅇ</a:t>
                </a:r>
                <a:endParaRPr lang="ko-KR" altLang="en-US" sz="800" dirty="0"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95" name="직사각형 94"/>
              <p:cNvSpPr/>
              <p:nvPr/>
            </p:nvSpPr>
            <p:spPr>
              <a:xfrm>
                <a:off x="2762687" y="1849745"/>
                <a:ext cx="654545" cy="22909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800" dirty="0" err="1" smtClean="0">
                    <a:solidFill>
                      <a:schemeClr val="bg1"/>
                    </a:solidFill>
                    <a:latin typeface="+mn-ea"/>
                  </a:rPr>
                  <a:t>ㅇㅇ</a:t>
                </a:r>
                <a:endParaRPr lang="ko-KR" altLang="en-US" sz="800" dirty="0"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96" name="직사각형 95"/>
              <p:cNvSpPr/>
              <p:nvPr/>
            </p:nvSpPr>
            <p:spPr>
              <a:xfrm>
                <a:off x="3452323" y="1849745"/>
                <a:ext cx="654545" cy="22909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800" dirty="0" err="1" smtClean="0">
                    <a:solidFill>
                      <a:schemeClr val="bg1"/>
                    </a:solidFill>
                    <a:latin typeface="+mn-ea"/>
                  </a:rPr>
                  <a:t>ㅇㅇ</a:t>
                </a:r>
                <a:endParaRPr lang="ko-KR" altLang="en-US" sz="800" dirty="0"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97" name="직사각형 96"/>
              <p:cNvSpPr/>
              <p:nvPr/>
            </p:nvSpPr>
            <p:spPr>
              <a:xfrm>
                <a:off x="692153" y="1849745"/>
                <a:ext cx="654545" cy="22909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800" dirty="0" err="1" smtClean="0">
                    <a:solidFill>
                      <a:schemeClr val="bg1"/>
                    </a:solidFill>
                    <a:latin typeface="+mn-ea"/>
                  </a:rPr>
                  <a:t>ㅇㅇ</a:t>
                </a:r>
                <a:endParaRPr lang="ko-KR" altLang="en-US" sz="800" dirty="0">
                  <a:solidFill>
                    <a:schemeClr val="bg1"/>
                  </a:solidFill>
                  <a:latin typeface="+mn-ea"/>
                </a:endParaRPr>
              </a:p>
            </p:txBody>
          </p:sp>
          <p:sp>
            <p:nvSpPr>
              <p:cNvPr id="98" name="직사각형 97"/>
              <p:cNvSpPr/>
              <p:nvPr/>
            </p:nvSpPr>
            <p:spPr>
              <a:xfrm>
                <a:off x="1387184" y="1849745"/>
                <a:ext cx="654545" cy="22909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800" dirty="0" err="1" smtClean="0">
                    <a:solidFill>
                      <a:schemeClr val="bg1"/>
                    </a:solidFill>
                    <a:latin typeface="+mn-ea"/>
                  </a:rPr>
                  <a:t>ㅇㅇ</a:t>
                </a:r>
                <a:endParaRPr lang="ko-KR" altLang="en-US" sz="800" dirty="0">
                  <a:solidFill>
                    <a:schemeClr val="bg1"/>
                  </a:solidFill>
                  <a:latin typeface="+mn-ea"/>
                </a:endParaRPr>
              </a:p>
            </p:txBody>
          </p:sp>
        </p:grpSp>
      </p:grpSp>
      <p:grpSp>
        <p:nvGrpSpPr>
          <p:cNvPr id="99" name="그룹 98"/>
          <p:cNvGrpSpPr/>
          <p:nvPr/>
        </p:nvGrpSpPr>
        <p:grpSpPr>
          <a:xfrm>
            <a:off x="685800" y="4042484"/>
            <a:ext cx="3789485" cy="569329"/>
            <a:chOff x="709247" y="4163864"/>
            <a:chExt cx="3789485" cy="569329"/>
          </a:xfrm>
        </p:grpSpPr>
        <p:sp>
          <p:nvSpPr>
            <p:cNvPr id="100" name="직사각형 99"/>
            <p:cNvSpPr/>
            <p:nvPr/>
          </p:nvSpPr>
          <p:spPr>
            <a:xfrm>
              <a:off x="709247" y="4302371"/>
              <a:ext cx="3789485" cy="43082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1" name="직사각형 100"/>
            <p:cNvSpPr/>
            <p:nvPr/>
          </p:nvSpPr>
          <p:spPr>
            <a:xfrm>
              <a:off x="2269127" y="4163864"/>
              <a:ext cx="734200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100" dirty="0" smtClean="0"/>
                <a:t>Y</a:t>
              </a:r>
              <a:r>
                <a:rPr lang="ko-KR" altLang="en-US" sz="1100" smtClean="0"/>
                <a:t>인자</a:t>
              </a:r>
              <a:endParaRPr lang="en-US" altLang="ko-KR" sz="1100" dirty="0"/>
            </a:p>
          </p:txBody>
        </p:sp>
        <p:sp>
          <p:nvSpPr>
            <p:cNvPr id="102" name="직사각형 101"/>
            <p:cNvSpPr/>
            <p:nvPr/>
          </p:nvSpPr>
          <p:spPr>
            <a:xfrm>
              <a:off x="2236727" y="4422867"/>
              <a:ext cx="720000" cy="252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00" dirty="0" err="1" smtClean="0">
                  <a:solidFill>
                    <a:schemeClr val="tx1"/>
                  </a:solidFill>
                  <a:latin typeface="+mj-ea"/>
                  <a:ea typeface="+mj-ea"/>
                </a:rPr>
                <a:t>ㅇㅇ</a:t>
              </a:r>
              <a:endParaRPr lang="ko-KR" altLang="en-US" sz="1000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103" name="TextBox 102"/>
          <p:cNvSpPr txBox="1"/>
          <p:nvPr/>
        </p:nvSpPr>
        <p:spPr>
          <a:xfrm>
            <a:off x="310307" y="1260183"/>
            <a:ext cx="4433152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단선 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Lot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건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포함하여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행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데이터를 기계학습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310307" y="4871287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데이터를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1:1 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비율로 나누어 학습하고 검증함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grpSp>
        <p:nvGrpSpPr>
          <p:cNvPr id="137" name="그룹 136"/>
          <p:cNvGrpSpPr/>
          <p:nvPr/>
        </p:nvGrpSpPr>
        <p:grpSpPr>
          <a:xfrm>
            <a:off x="5126142" y="833613"/>
            <a:ext cx="4250629" cy="350865"/>
            <a:chOff x="5126142" y="833613"/>
            <a:chExt cx="4250629" cy="350865"/>
          </a:xfrm>
        </p:grpSpPr>
        <p:sp>
          <p:nvSpPr>
            <p:cNvPr id="151" name="TextBox 150"/>
            <p:cNvSpPr txBox="1"/>
            <p:nvPr/>
          </p:nvSpPr>
          <p:spPr>
            <a:xfrm>
              <a:off x="5372839" y="833613"/>
              <a:ext cx="3874925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</a:rPr>
                <a:t> (1</a:t>
              </a:r>
              <a:r>
                <a:rPr kumimoji="1"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</a:rPr>
                <a:t>차</a:t>
              </a:r>
              <a:r>
                <a:rPr kumimoji="1"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</a:rPr>
                <a:t>) </a:t>
              </a:r>
              <a:r>
                <a:rPr kumimoji="1" lang="ko-KR" altLang="en-US" sz="1400" b="1" dirty="0" err="1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ㅇㅇ</a:t>
              </a: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 </a:t>
              </a: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예측 모델 성능과 </a:t>
              </a:r>
              <a:r>
                <a:rPr kumimoji="1"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</a:rPr>
                <a:t>유효변수</a:t>
              </a:r>
            </a:p>
          </p:txBody>
        </p:sp>
        <p:cxnSp>
          <p:nvCxnSpPr>
            <p:cNvPr id="152" name="직선 연결선 151"/>
            <p:cNvCxnSpPr/>
            <p:nvPr/>
          </p:nvCxnSpPr>
          <p:spPr>
            <a:xfrm>
              <a:off x="5126142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153" name="TextBox 152"/>
          <p:cNvSpPr txBox="1"/>
          <p:nvPr/>
        </p:nvSpPr>
        <p:spPr>
          <a:xfrm>
            <a:off x="5120787" y="1239264"/>
            <a:ext cx="4504924" cy="552835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3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가지 머신러닝 알고리즘</a:t>
            </a:r>
            <a:r>
              <a:rPr lang="en-US" altLang="ko-KR" sz="11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(Logistic Regression, Decision Tree, Random </a:t>
            </a:r>
            <a:r>
              <a:rPr lang="en-US" altLang="ko-KR" sz="11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Forest)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으로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학습 및 검증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graphicFrame>
        <p:nvGraphicFramePr>
          <p:cNvPr id="154" name="표 1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5146290"/>
              </p:ext>
            </p:extLst>
          </p:nvPr>
        </p:nvGraphicFramePr>
        <p:xfrm>
          <a:off x="5213639" y="1921729"/>
          <a:ext cx="4416138" cy="733425"/>
        </p:xfrm>
        <a:graphic>
          <a:graphicData uri="http://schemas.openxmlformats.org/drawingml/2006/table">
            <a:tbl>
              <a:tblPr/>
              <a:tblGrid>
                <a:gridCol w="490682">
                  <a:extLst>
                    <a:ext uri="{9D8B030D-6E8A-4147-A177-3AD203B41FA5}">
                      <a16:colId xmlns:a16="http://schemas.microsoft.com/office/drawing/2014/main" val="2439859525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1916038166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2757577571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3806003778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3141757827"/>
                    </a:ext>
                  </a:extLst>
                </a:gridCol>
              </a:tblGrid>
              <a:tr h="146685"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1" dirty="0" smtClean="0">
                          <a:solidFill>
                            <a:prstClr val="black"/>
                          </a:solidFill>
                          <a:cs typeface="Arial"/>
                        </a:rPr>
                        <a:t>구분</a:t>
                      </a:r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kumimoji="1" lang="en-US" altLang="ko-KR" sz="900" b="1" dirty="0" smtClean="0">
                          <a:solidFill>
                            <a:prstClr val="black"/>
                          </a:solidFill>
                          <a:cs typeface="Arial"/>
                        </a:rPr>
                        <a:t>Logistic Regress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1" dirty="0" smtClean="0">
                          <a:solidFill>
                            <a:prstClr val="black"/>
                          </a:solidFill>
                          <a:cs typeface="Arial"/>
                        </a:rPr>
                        <a:t>Decision Tree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1" dirty="0" smtClean="0">
                          <a:solidFill>
                            <a:prstClr val="black"/>
                          </a:solidFill>
                          <a:cs typeface="Arial"/>
                        </a:rPr>
                        <a:t>Random Fores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80556"/>
                  </a:ext>
                </a:extLst>
              </a:tr>
              <a:tr h="146685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상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상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상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4653170"/>
                  </a:ext>
                </a:extLst>
              </a:tr>
              <a:tr h="14668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정상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8484577"/>
                  </a:ext>
                </a:extLst>
              </a:tr>
              <a:tr h="14668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008296"/>
                  </a:ext>
                </a:extLst>
              </a:tr>
              <a:tr h="14668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76669"/>
                  </a:ext>
                </a:extLst>
              </a:tr>
            </a:tbl>
          </a:graphicData>
        </a:graphic>
      </p:graphicFrame>
      <p:sp>
        <p:nvSpPr>
          <p:cNvPr id="157" name="TextBox 156"/>
          <p:cNvSpPr txBox="1"/>
          <p:nvPr/>
        </p:nvSpPr>
        <p:spPr>
          <a:xfrm>
            <a:off x="5213639" y="2664516"/>
            <a:ext cx="4504924" cy="313988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71450" lvl="1" indent="-171450">
              <a:lnSpc>
                <a:spcPct val="150000"/>
              </a:lnSpc>
              <a:spcAft>
                <a:spcPts val="600"/>
              </a:spcAft>
              <a:buFontTx/>
              <a:buChar char="-"/>
            </a:pP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Random Forest</a:t>
            </a:r>
            <a:r>
              <a:rPr lang="ko-KR" altLang="en-US" sz="120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의 성능이 가장 우수함</a:t>
            </a:r>
          </a:p>
        </p:txBody>
      </p:sp>
      <p:graphicFrame>
        <p:nvGraphicFramePr>
          <p:cNvPr id="158" name="표 1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4380868"/>
              </p:ext>
            </p:extLst>
          </p:nvPr>
        </p:nvGraphicFramePr>
        <p:xfrm>
          <a:off x="5201491" y="3134896"/>
          <a:ext cx="4477386" cy="85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04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9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80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801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80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099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130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5606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알고리즘</a:t>
                      </a:r>
                      <a:endParaRPr lang="en-US" altLang="ko-KR" sz="800" dirty="0" smtClean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오답수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정확도</a:t>
                      </a:r>
                      <a:r>
                        <a:rPr lang="en-US" altLang="ko-KR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(%)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미검율</a:t>
                      </a:r>
                      <a:r>
                        <a:rPr lang="en-US" altLang="ko-KR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(%)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재현율</a:t>
                      </a:r>
                      <a:r>
                        <a:rPr lang="en-US" altLang="ko-KR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(%)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과검율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AUROC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06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Arial"/>
                        </a:rPr>
                        <a:t>Logistic Regress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06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Arial"/>
                        </a:rPr>
                        <a:t>Decision Tree</a:t>
                      </a:r>
                      <a:r>
                        <a:rPr kumimoji="1" lang="ko-KR" altLang="en-US" sz="800" b="1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Arial"/>
                        </a:rPr>
                        <a:t>　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06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Arial"/>
                        </a:rPr>
                        <a:t>Random Fores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8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61" name="TextBox 160"/>
          <p:cNvSpPr txBox="1"/>
          <p:nvPr/>
        </p:nvSpPr>
        <p:spPr>
          <a:xfrm>
            <a:off x="5120787" y="5183774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머신러닝이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추정하는 단선 인자와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단선 방지방안은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</a:p>
        </p:txBody>
      </p:sp>
      <p:grpSp>
        <p:nvGrpSpPr>
          <p:cNvPr id="162" name="그룹 161"/>
          <p:cNvGrpSpPr/>
          <p:nvPr/>
        </p:nvGrpSpPr>
        <p:grpSpPr>
          <a:xfrm>
            <a:off x="5372591" y="5536939"/>
            <a:ext cx="4051728" cy="598657"/>
            <a:chOff x="5372591" y="5254853"/>
            <a:chExt cx="4051728" cy="598657"/>
          </a:xfrm>
        </p:grpSpPr>
        <p:sp>
          <p:nvSpPr>
            <p:cNvPr id="163" name="TextBox 162"/>
            <p:cNvSpPr txBox="1"/>
            <p:nvPr/>
          </p:nvSpPr>
          <p:spPr>
            <a:xfrm>
              <a:off x="5448557" y="5275026"/>
              <a:ext cx="468149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900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1</a:t>
              </a:r>
              <a:r>
                <a:rPr lang="ko-KR" altLang="en-US" sz="900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등</a:t>
              </a:r>
              <a:endParaRPr lang="en-US" altLang="ko-KR" sz="900" dirty="0">
                <a:solidFill>
                  <a:schemeClr val="bg2">
                    <a:lumMod val="25000"/>
                  </a:schemeClr>
                </a:solidFill>
                <a:latin typeface="+mn-ea"/>
              </a:endParaRPr>
            </a:p>
          </p:txBody>
        </p:sp>
        <p:sp>
          <p:nvSpPr>
            <p:cNvPr id="164" name="TextBox 163"/>
            <p:cNvSpPr txBox="1"/>
            <p:nvPr/>
          </p:nvSpPr>
          <p:spPr>
            <a:xfrm>
              <a:off x="6120909" y="5283990"/>
              <a:ext cx="468149" cy="2732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900" dirty="0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2</a:t>
              </a:r>
              <a:r>
                <a:rPr lang="ko-KR" altLang="en-US" sz="900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등</a:t>
              </a:r>
              <a:endParaRPr lang="en-US" altLang="ko-KR" sz="900" dirty="0">
                <a:solidFill>
                  <a:schemeClr val="bg2">
                    <a:lumMod val="25000"/>
                  </a:schemeClr>
                </a:solidFill>
                <a:latin typeface="+mn-ea"/>
              </a:endParaRPr>
            </a:p>
          </p:txBody>
        </p:sp>
        <p:sp>
          <p:nvSpPr>
            <p:cNvPr id="165" name="TextBox 164"/>
            <p:cNvSpPr txBox="1"/>
            <p:nvPr/>
          </p:nvSpPr>
          <p:spPr>
            <a:xfrm>
              <a:off x="6793261" y="5292954"/>
              <a:ext cx="468149" cy="2732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900" dirty="0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3</a:t>
              </a:r>
              <a:r>
                <a:rPr lang="ko-KR" altLang="en-US" sz="900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등</a:t>
              </a:r>
              <a:endParaRPr lang="en-US" altLang="ko-KR" sz="900" dirty="0">
                <a:solidFill>
                  <a:schemeClr val="bg2">
                    <a:lumMod val="25000"/>
                  </a:schemeClr>
                </a:solidFill>
                <a:latin typeface="+mn-ea"/>
              </a:endParaRPr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7587500" y="5269507"/>
              <a:ext cx="468149" cy="2732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900" dirty="0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4</a:t>
              </a:r>
              <a:r>
                <a:rPr lang="ko-KR" altLang="en-US" sz="900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등</a:t>
              </a:r>
              <a:endParaRPr lang="en-US" altLang="ko-KR" sz="900" dirty="0">
                <a:solidFill>
                  <a:schemeClr val="bg2">
                    <a:lumMod val="25000"/>
                  </a:schemeClr>
                </a:solidFill>
                <a:latin typeface="+mn-ea"/>
              </a:endParaRPr>
            </a:p>
          </p:txBody>
        </p:sp>
        <p:sp>
          <p:nvSpPr>
            <p:cNvPr id="167" name="TextBox 166"/>
            <p:cNvSpPr txBox="1"/>
            <p:nvPr/>
          </p:nvSpPr>
          <p:spPr>
            <a:xfrm>
              <a:off x="8320193" y="5254853"/>
              <a:ext cx="468149" cy="2732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900" dirty="0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5</a:t>
              </a:r>
              <a:r>
                <a:rPr lang="ko-KR" altLang="en-US" sz="900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등</a:t>
              </a:r>
              <a:endParaRPr lang="en-US" altLang="ko-KR" sz="900" dirty="0">
                <a:solidFill>
                  <a:schemeClr val="bg2">
                    <a:lumMod val="25000"/>
                  </a:schemeClr>
                </a:solidFill>
                <a:latin typeface="+mn-ea"/>
              </a:endParaRPr>
            </a:p>
          </p:txBody>
        </p:sp>
        <p:sp>
          <p:nvSpPr>
            <p:cNvPr id="168" name="TextBox 167"/>
            <p:cNvSpPr txBox="1"/>
            <p:nvPr/>
          </p:nvSpPr>
          <p:spPr>
            <a:xfrm>
              <a:off x="8956170" y="5530345"/>
              <a:ext cx="468149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ko-KR" sz="1000" b="1" dirty="0" smtClean="0">
                  <a:solidFill>
                    <a:schemeClr val="bg2">
                      <a:lumMod val="25000"/>
                    </a:schemeClr>
                  </a:solidFill>
                  <a:latin typeface="+mn-ea"/>
                </a:rPr>
                <a:t>…</a:t>
              </a:r>
              <a:endParaRPr lang="en-US" altLang="ko-KR" sz="1000" b="1" dirty="0">
                <a:solidFill>
                  <a:schemeClr val="bg2">
                    <a:lumMod val="25000"/>
                  </a:schemeClr>
                </a:solidFill>
                <a:latin typeface="+mn-ea"/>
              </a:endParaRPr>
            </a:p>
          </p:txBody>
        </p:sp>
        <p:sp>
          <p:nvSpPr>
            <p:cNvPr id="169" name="직사각형 168"/>
            <p:cNvSpPr/>
            <p:nvPr/>
          </p:nvSpPr>
          <p:spPr>
            <a:xfrm>
              <a:off x="5372591" y="5571576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en-US" altLang="ko-KR" sz="9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70" name="직사각형 169"/>
            <p:cNvSpPr/>
            <p:nvPr/>
          </p:nvSpPr>
          <p:spPr>
            <a:xfrm>
              <a:off x="6101240" y="5571576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71" name="직사각형 170"/>
            <p:cNvSpPr/>
            <p:nvPr/>
          </p:nvSpPr>
          <p:spPr>
            <a:xfrm>
              <a:off x="6818064" y="5571575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72" name="직사각형 171"/>
            <p:cNvSpPr/>
            <p:nvPr/>
          </p:nvSpPr>
          <p:spPr>
            <a:xfrm>
              <a:off x="7546713" y="5571574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73" name="직사각형 172"/>
            <p:cNvSpPr/>
            <p:nvPr/>
          </p:nvSpPr>
          <p:spPr>
            <a:xfrm>
              <a:off x="8292052" y="5571574"/>
              <a:ext cx="654545" cy="2290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900" dirty="0"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175" name="TextBox 174"/>
          <p:cNvSpPr txBox="1"/>
          <p:nvPr/>
        </p:nvSpPr>
        <p:spPr>
          <a:xfrm>
            <a:off x="5172076" y="4131077"/>
            <a:ext cx="4504924" cy="903700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71450" lvl="1" indent="-171450">
              <a:lnSpc>
                <a:spcPct val="150000"/>
              </a:lnSpc>
              <a:spcAft>
                <a:spcPts val="600"/>
              </a:spcAft>
              <a:buFontTx/>
              <a:buChar char="-"/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Poor Model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확보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: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아직 정확한 예측이라고 할 수 없으나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,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반대로 말하면 데이터가 예측 할 수 있는 인자를 가지고 있는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“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초기 모델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＂</a:t>
            </a:r>
            <a:r>
              <a:rPr lang="ko-KR" altLang="en-US" sz="120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임</a:t>
            </a:r>
          </a:p>
        </p:txBody>
      </p:sp>
      <p:sp>
        <p:nvSpPr>
          <p:cNvPr id="105" name="직사각형 104">
            <a:hlinkClick r:id="rId2" action="ppaction://hlinksldjump"/>
          </p:cNvPr>
          <p:cNvSpPr/>
          <p:nvPr/>
        </p:nvSpPr>
        <p:spPr>
          <a:xfrm>
            <a:off x="8680938" y="1541584"/>
            <a:ext cx="520212" cy="2491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800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Decision </a:t>
            </a:r>
            <a:r>
              <a:rPr lang="en-US" altLang="ko-KR" sz="800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Tree </a:t>
            </a:r>
            <a:r>
              <a:rPr lang="ko-KR" altLang="en-US" sz="800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란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107" name="직사각형 106">
            <a:hlinkClick r:id="rId3" action="ppaction://hlinksldjump"/>
          </p:cNvPr>
          <p:cNvSpPr/>
          <p:nvPr/>
        </p:nvSpPr>
        <p:spPr>
          <a:xfrm>
            <a:off x="3956537" y="808159"/>
            <a:ext cx="767863" cy="2491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모델과 알고리즘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108" name="직사각형 107">
            <a:hlinkClick r:id="rId4" action="ppaction://hlinksldjump"/>
          </p:cNvPr>
          <p:cNvSpPr/>
          <p:nvPr/>
        </p:nvSpPr>
        <p:spPr>
          <a:xfrm>
            <a:off x="3985112" y="4932484"/>
            <a:ext cx="672613" cy="1919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머신러닝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graphicFrame>
        <p:nvGraphicFramePr>
          <p:cNvPr id="109" name="표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8919649"/>
              </p:ext>
            </p:extLst>
          </p:nvPr>
        </p:nvGraphicFramePr>
        <p:xfrm>
          <a:off x="684971" y="5286939"/>
          <a:ext cx="3765649" cy="8872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90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0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10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444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21821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1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데이터 현황</a:t>
                      </a:r>
                      <a:endParaRPr lang="en-US" altLang="ko-KR" sz="900" b="1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단선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900" kern="120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정상</a:t>
                      </a:r>
                      <a:r>
                        <a:rPr lang="en-US" altLang="ko-KR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kern="120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단선 아님</a:t>
                      </a:r>
                      <a:r>
                        <a:rPr lang="en-US" altLang="ko-KR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)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합계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1821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1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학습</a:t>
                      </a:r>
                      <a:endParaRPr lang="en-US" altLang="ko-KR" sz="900" b="1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1821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1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검증</a:t>
                      </a:r>
                      <a:endParaRPr lang="en-US" altLang="ko-KR" sz="900" b="1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1821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1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합계</a:t>
                      </a:r>
                      <a:endParaRPr lang="en-US" altLang="ko-KR" sz="900" b="1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8547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+mj-ea"/>
              </a:rPr>
              <a:t>3. </a:t>
            </a:r>
            <a:r>
              <a:rPr lang="en-US" altLang="ko-KR" dirty="0" smtClean="0">
                <a:latin typeface="+mj-ea"/>
              </a:rPr>
              <a:t>OOO </a:t>
            </a:r>
            <a:r>
              <a:rPr lang="en-US" altLang="ko-KR" dirty="0">
                <a:latin typeface="+mj-ea"/>
              </a:rPr>
              <a:t>– 4</a:t>
            </a:r>
            <a:r>
              <a:rPr lang="en-US" altLang="ko-KR" dirty="0" smtClean="0">
                <a:latin typeface="+mj-ea"/>
              </a:rPr>
              <a:t>) </a:t>
            </a:r>
            <a:r>
              <a:rPr lang="ko-KR" altLang="en-US" dirty="0">
                <a:latin typeface="+mj-ea"/>
              </a:rPr>
              <a:t>현재 확보된 데이터 만으로 공정을 예측해 보았습니다</a:t>
            </a:r>
            <a:r>
              <a:rPr lang="en-US" altLang="ko-KR" dirty="0">
                <a:latin typeface="+mj-ea"/>
              </a:rPr>
              <a:t>. </a:t>
            </a:r>
            <a:r>
              <a:rPr lang="en-US" altLang="ko-KR" dirty="0" smtClean="0">
                <a:latin typeface="+mj-ea"/>
              </a:rPr>
              <a:t>(2/2)</a:t>
            </a:r>
            <a:endParaRPr lang="en-US" altLang="ko-KR" dirty="0">
              <a:latin typeface="+mj-ea"/>
            </a:endParaRPr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6253926"/>
              </p:ext>
            </p:extLst>
          </p:nvPr>
        </p:nvGraphicFramePr>
        <p:xfrm>
          <a:off x="478816" y="1717871"/>
          <a:ext cx="3949803" cy="2977224"/>
        </p:xfrm>
        <a:graphic>
          <a:graphicData uri="http://schemas.openxmlformats.org/drawingml/2006/table">
            <a:tbl>
              <a:tblPr/>
              <a:tblGrid>
                <a:gridCol w="414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93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43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514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592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704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8102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납품 회사명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체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율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%)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체 수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102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외부 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1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81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8102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부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81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81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81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810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810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정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8102">
                <a:tc gridSpan="3"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8102">
                <a:tc gridSpan="3"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71853" y="4988121"/>
            <a:ext cx="44199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단선이라고 클레임을 준 회사와 그렇지 않은 회사로 나뉨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따라서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단선이라고 보고해 주는 회사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(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노란색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부분인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)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만으로 학습 시도 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57231" y="813098"/>
            <a:ext cx="387492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(</a:t>
            </a:r>
            <a:r>
              <a:rPr kumimoji="1" lang="ko-KR" altLang="en-US" sz="14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</a:t>
            </a: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) </a:t>
            </a:r>
            <a:r>
              <a:rPr kumimoji="1" lang="ko-KR" altLang="en-US" sz="14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선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예측 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모델 개발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11" name="직선 연결선 10"/>
          <p:cNvCxnSpPr/>
          <p:nvPr/>
        </p:nvCxnSpPr>
        <p:spPr>
          <a:xfrm>
            <a:off x="410534" y="1139022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310307" y="1260183"/>
            <a:ext cx="4433152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확보된 데이터를 납품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회사 별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</a:rPr>
              <a:t>단선 현황으로 정리</a:t>
            </a:r>
            <a:endParaRPr lang="ko-KR" altLang="en-US" sz="1300" b="1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5126142" y="833613"/>
            <a:ext cx="4250629" cy="350865"/>
            <a:chOff x="5126142" y="833613"/>
            <a:chExt cx="4250629" cy="350865"/>
          </a:xfrm>
        </p:grpSpPr>
        <p:sp>
          <p:nvSpPr>
            <p:cNvPr id="18" name="TextBox 17"/>
            <p:cNvSpPr txBox="1"/>
            <p:nvPr/>
          </p:nvSpPr>
          <p:spPr>
            <a:xfrm>
              <a:off x="5372839" y="833613"/>
              <a:ext cx="3874925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</a:rPr>
                <a:t> </a:t>
              </a:r>
              <a:r>
                <a:rPr kumimoji="1"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(</a:t>
              </a:r>
              <a:r>
                <a:rPr kumimoji="1" lang="ko-KR" altLang="en-US" sz="1400" b="1" dirty="0" err="1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ㅇ차</a:t>
              </a:r>
              <a:r>
                <a:rPr kumimoji="1" lang="en-US" altLang="ko-KR" sz="1400" b="1" dirty="0">
                  <a:solidFill>
                    <a:prstClr val="black"/>
                  </a:solidFill>
                  <a:latin typeface="맑은 고딕" panose="020B0503020000020004" pitchFamily="50" charset="-127"/>
                </a:rPr>
                <a:t>) </a:t>
              </a:r>
              <a:r>
                <a:rPr kumimoji="1" lang="ko-KR" altLang="en-US" sz="1400" b="1" dirty="0" err="1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ㅇㅇ</a:t>
              </a: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 </a:t>
              </a: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예측 모델 성능과 </a:t>
              </a:r>
              <a:r>
                <a:rPr kumimoji="1"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</a:rPr>
                <a:t>유효변수</a:t>
              </a:r>
            </a:p>
          </p:txBody>
        </p:sp>
        <p:cxnSp>
          <p:nvCxnSpPr>
            <p:cNvPr id="19" name="직선 연결선 18"/>
            <p:cNvCxnSpPr/>
            <p:nvPr/>
          </p:nvCxnSpPr>
          <p:spPr>
            <a:xfrm>
              <a:off x="5126142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20" name="TextBox 19"/>
          <p:cNvSpPr txBox="1"/>
          <p:nvPr/>
        </p:nvSpPr>
        <p:spPr>
          <a:xfrm>
            <a:off x="5120787" y="1239264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동일한 알고리즘으로 기계학습 시도하여 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213639" y="2388291"/>
            <a:ext cx="4504924" cy="313988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71450" lvl="1" indent="-171450">
              <a:lnSpc>
                <a:spcPct val="150000"/>
              </a:lnSpc>
              <a:spcAft>
                <a:spcPts val="600"/>
              </a:spcAft>
              <a:buFontTx/>
              <a:buChar char="-"/>
            </a:pP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Random Forest</a:t>
            </a:r>
            <a:r>
              <a:rPr lang="ko-KR" altLang="en-US" sz="120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의 성능이 가장 우수함</a:t>
            </a:r>
          </a:p>
        </p:txBody>
      </p:sp>
      <p:graphicFrame>
        <p:nvGraphicFramePr>
          <p:cNvPr id="25" name="표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7959605"/>
              </p:ext>
            </p:extLst>
          </p:nvPr>
        </p:nvGraphicFramePr>
        <p:xfrm>
          <a:off x="5201491" y="2744371"/>
          <a:ext cx="4370062" cy="775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37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9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99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99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990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011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662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694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5606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알고리즘</a:t>
                      </a:r>
                      <a:endParaRPr lang="en-US" altLang="ko-KR" sz="800" dirty="0" smtClean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오답수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정확도</a:t>
                      </a:r>
                      <a:r>
                        <a:rPr lang="en-US" altLang="ko-KR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(%)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미검율</a:t>
                      </a:r>
                      <a:r>
                        <a:rPr lang="en-US" altLang="ko-KR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(%)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재현율</a:t>
                      </a:r>
                      <a:r>
                        <a:rPr lang="en-US" altLang="ko-KR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(%)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과검율</a:t>
                      </a:r>
                      <a:r>
                        <a:rPr lang="en-US" altLang="ko-KR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(%)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AUROC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기존</a:t>
                      </a:r>
                      <a:r>
                        <a:rPr lang="en-US" altLang="ko-KR" sz="8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AUROC</a:t>
                      </a:r>
                      <a:endParaRPr lang="ko-KR" altLang="en-US" sz="8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06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Arial"/>
                        </a:rPr>
                        <a:t>Logistic Regression</a:t>
                      </a: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06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Arial"/>
                        </a:rPr>
                        <a:t>Decision Tree</a:t>
                      </a:r>
                      <a:r>
                        <a:rPr kumimoji="1" lang="ko-KR" altLang="en-US" sz="800" b="1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Arial"/>
                        </a:rPr>
                        <a:t>　</a:t>
                      </a: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06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800" b="1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Arial"/>
                        </a:rPr>
                        <a:t>Random Forest</a:t>
                      </a: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0" marT="36000" marB="36000" anchor="ctr">
                    <a:lnL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5471417" y="4358692"/>
            <a:ext cx="468149" cy="273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9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1</a:t>
            </a:r>
            <a:r>
              <a:rPr lang="ko-KR" altLang="en-US" sz="9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등</a:t>
            </a:r>
            <a:endParaRPr lang="en-US" altLang="ko-KR" sz="9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174241" y="4358692"/>
            <a:ext cx="468149" cy="273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9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2</a:t>
            </a:r>
            <a:r>
              <a:rPr lang="ko-KR" altLang="en-US" sz="9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등</a:t>
            </a:r>
            <a:endParaRPr lang="en-US" altLang="ko-KR" sz="9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877065" y="4358692"/>
            <a:ext cx="468149" cy="273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9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3</a:t>
            </a:r>
            <a:r>
              <a:rPr lang="ko-KR" altLang="en-US" sz="9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등</a:t>
            </a:r>
            <a:endParaRPr lang="en-US" altLang="ko-KR" sz="9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579889" y="4358692"/>
            <a:ext cx="468149" cy="273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9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4</a:t>
            </a:r>
            <a:r>
              <a:rPr lang="ko-KR" altLang="en-US" sz="9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등</a:t>
            </a:r>
            <a:endParaRPr lang="en-US" altLang="ko-KR" sz="9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282712" y="4358692"/>
            <a:ext cx="468149" cy="273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9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5</a:t>
            </a:r>
            <a:r>
              <a:rPr lang="ko-KR" altLang="en-US" sz="9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등</a:t>
            </a:r>
            <a:endParaRPr lang="en-US" altLang="ko-KR" sz="9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794392" y="4554208"/>
            <a:ext cx="468149" cy="293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00" b="1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…</a:t>
            </a:r>
            <a:endParaRPr lang="en-US" altLang="ko-KR" sz="1000" b="1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5364023" y="4637053"/>
            <a:ext cx="654545" cy="22909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6062005" y="4637052"/>
            <a:ext cx="654545" cy="22909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en-US" altLang="ko-KR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6755357" y="4637051"/>
            <a:ext cx="654545" cy="22909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8" name="직사각형 37">
            <a:hlinkClick r:id="" action="ppaction://noaction"/>
          </p:cNvPr>
          <p:cNvSpPr/>
          <p:nvPr/>
        </p:nvSpPr>
        <p:spPr>
          <a:xfrm>
            <a:off x="8156657" y="4642727"/>
            <a:ext cx="654545" cy="22909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7447601" y="4637051"/>
            <a:ext cx="654545" cy="22909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365194" y="4911420"/>
            <a:ext cx="662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ko-KR" altLang="en-US" sz="1100" b="1" dirty="0" smtClean="0">
                <a:solidFill>
                  <a:schemeClr val="bg2">
                    <a:lumMod val="25000"/>
                  </a:schemeClr>
                </a:solidFill>
              </a:rPr>
              <a:t>↓</a:t>
            </a:r>
            <a:endParaRPr lang="ko-KR" altLang="en-US" sz="11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054841" y="4911420"/>
            <a:ext cx="662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ko-KR" altLang="en-US" sz="1100" dirty="0" smtClean="0">
                <a:solidFill>
                  <a:schemeClr val="bg2">
                    <a:lumMod val="25000"/>
                  </a:schemeClr>
                </a:solidFill>
              </a:rPr>
              <a:t>↑</a:t>
            </a:r>
            <a:endParaRPr lang="ko-KR" altLang="en-US" sz="11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757852" y="4911420"/>
            <a:ext cx="662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ko-KR" altLang="en-US" sz="1100" dirty="0" smtClean="0">
                <a:solidFill>
                  <a:schemeClr val="bg2">
                    <a:lumMod val="25000"/>
                  </a:schemeClr>
                </a:solidFill>
              </a:rPr>
              <a:t>↑</a:t>
            </a:r>
            <a:endParaRPr lang="ko-KR" altLang="en-US" sz="11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440437" y="4911420"/>
            <a:ext cx="662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ko-KR" altLang="en-US" sz="1100" dirty="0" smtClean="0">
                <a:solidFill>
                  <a:schemeClr val="bg2">
                    <a:lumMod val="25000"/>
                  </a:schemeClr>
                </a:solidFill>
              </a:rPr>
              <a:t>↑</a:t>
            </a:r>
            <a:endParaRPr lang="ko-KR" altLang="en-US" sz="11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120787" y="4051254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머신러닝이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추정하는 단선 인자와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단선 방지방안은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210176" y="3594791"/>
            <a:ext cx="4504924" cy="349702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71450" lvl="1" indent="-171450">
              <a:lnSpc>
                <a:spcPct val="150000"/>
              </a:lnSpc>
              <a:spcAft>
                <a:spcPts val="600"/>
              </a:spcAft>
              <a:buFontTx/>
              <a:buChar char="-"/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AUROC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기준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ㅇㅇ이므로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, Poor Model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확보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  <a:latin typeface="+mn-ea"/>
              <a:sym typeface="Wingdings" panose="05000000000000000000" pitchFamily="2" charset="2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120787" y="5422854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직관적으로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통계적으로 해당 방지방안 검토 필요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5181601" y="5690291"/>
            <a:ext cx="4504924" cy="349702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71450" lvl="1" indent="-171450">
              <a:lnSpc>
                <a:spcPct val="150000"/>
              </a:lnSpc>
              <a:spcAft>
                <a:spcPts val="600"/>
              </a:spcAft>
              <a:buFontTx/>
              <a:buChar char="-"/>
            </a:pP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ㅇㅇ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  <a:latin typeface="+mn-ea"/>
              <a:sym typeface="Wingdings" panose="05000000000000000000" pitchFamily="2" charset="2"/>
            </a:endParaRPr>
          </a:p>
        </p:txBody>
      </p:sp>
      <p:sp>
        <p:nvSpPr>
          <p:cNvPr id="49" name="직사각형 48">
            <a:hlinkClick r:id="" action="ppaction://noaction"/>
          </p:cNvPr>
          <p:cNvSpPr/>
          <p:nvPr/>
        </p:nvSpPr>
        <p:spPr>
          <a:xfrm>
            <a:off x="5439937" y="5203852"/>
            <a:ext cx="551276" cy="1816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dirty="0" smtClean="0">
                <a:solidFill>
                  <a:schemeClr val="tx1"/>
                </a:solidFill>
              </a:rPr>
              <a:t>상세 확인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50" name="직사각형 49">
            <a:hlinkClick r:id="" action="ppaction://noaction"/>
          </p:cNvPr>
          <p:cNvSpPr/>
          <p:nvPr/>
        </p:nvSpPr>
        <p:spPr>
          <a:xfrm>
            <a:off x="6297187" y="5194327"/>
            <a:ext cx="551276" cy="1816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dirty="0" smtClean="0">
                <a:solidFill>
                  <a:schemeClr val="tx1"/>
                </a:solidFill>
              </a:rPr>
              <a:t>상세 확인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graphicFrame>
        <p:nvGraphicFramePr>
          <p:cNvPr id="48" name="표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8083257"/>
              </p:ext>
            </p:extLst>
          </p:nvPr>
        </p:nvGraphicFramePr>
        <p:xfrm>
          <a:off x="5175539" y="1616929"/>
          <a:ext cx="4416138" cy="733425"/>
        </p:xfrm>
        <a:graphic>
          <a:graphicData uri="http://schemas.openxmlformats.org/drawingml/2006/table">
            <a:tbl>
              <a:tblPr/>
              <a:tblGrid>
                <a:gridCol w="490682">
                  <a:extLst>
                    <a:ext uri="{9D8B030D-6E8A-4147-A177-3AD203B41FA5}">
                      <a16:colId xmlns:a16="http://schemas.microsoft.com/office/drawing/2014/main" val="2439859525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1916038166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2757577571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3806003778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90682">
                  <a:extLst>
                    <a:ext uri="{9D8B030D-6E8A-4147-A177-3AD203B41FA5}">
                      <a16:colId xmlns:a16="http://schemas.microsoft.com/office/drawing/2014/main" val="3141757827"/>
                    </a:ext>
                  </a:extLst>
                </a:gridCol>
              </a:tblGrid>
              <a:tr h="146685"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1" dirty="0" smtClean="0">
                          <a:solidFill>
                            <a:prstClr val="black"/>
                          </a:solidFill>
                          <a:cs typeface="Arial"/>
                        </a:rPr>
                        <a:t>구분</a:t>
                      </a:r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kumimoji="1" lang="en-US" altLang="ko-KR" sz="900" b="1" dirty="0" smtClean="0">
                          <a:solidFill>
                            <a:prstClr val="black"/>
                          </a:solidFill>
                          <a:cs typeface="Arial"/>
                        </a:rPr>
                        <a:t>Logistic Regress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1" dirty="0" smtClean="0">
                          <a:solidFill>
                            <a:prstClr val="black"/>
                          </a:solidFill>
                          <a:cs typeface="Arial"/>
                        </a:rPr>
                        <a:t>Decision Tree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1" dirty="0" smtClean="0">
                          <a:solidFill>
                            <a:prstClr val="black"/>
                          </a:solidFill>
                          <a:cs typeface="Arial"/>
                        </a:rPr>
                        <a:t>Random Fores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80556"/>
                  </a:ext>
                </a:extLst>
              </a:tr>
              <a:tr h="146685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상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상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상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4653170"/>
                  </a:ext>
                </a:extLst>
              </a:tr>
              <a:tr h="14668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정상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8484577"/>
                  </a:ext>
                </a:extLst>
              </a:tr>
              <a:tr h="14668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008296"/>
                  </a:ext>
                </a:extLst>
              </a:tr>
              <a:tr h="14668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766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1320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4. </a:t>
            </a:r>
            <a:r>
              <a:rPr lang="ko-KR" altLang="en-US" dirty="0" err="1" smtClean="0">
                <a:latin typeface="+mj-ea"/>
              </a:rPr>
              <a:t>ㅇㅇ</a:t>
            </a:r>
            <a:r>
              <a:rPr lang="en-US" altLang="ko-KR" dirty="0" smtClean="0">
                <a:latin typeface="+mj-ea"/>
              </a:rPr>
              <a:t> </a:t>
            </a:r>
            <a:r>
              <a:rPr lang="en-US" altLang="ko-KR" dirty="0">
                <a:latin typeface="+mj-ea"/>
              </a:rPr>
              <a:t>– 1) </a:t>
            </a:r>
            <a:r>
              <a:rPr lang="ko-KR" altLang="en-US" dirty="0">
                <a:latin typeface="+mj-ea"/>
              </a:rPr>
              <a:t>데이터를 </a:t>
            </a:r>
            <a:r>
              <a:rPr lang="ko-KR" altLang="en-US" dirty="0" smtClean="0">
                <a:latin typeface="+mj-ea"/>
              </a:rPr>
              <a:t>연결하고 이해하였습니다</a:t>
            </a:r>
            <a:r>
              <a:rPr lang="en-US" altLang="ko-KR" dirty="0">
                <a:latin typeface="+mj-ea"/>
              </a:rPr>
              <a:t>. 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657231" y="813098"/>
            <a:ext cx="387492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데이터 </a:t>
            </a: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전처리 및 마트 구축</a:t>
            </a:r>
          </a:p>
        </p:txBody>
      </p:sp>
      <p:cxnSp>
        <p:nvCxnSpPr>
          <p:cNvPr id="76" name="직선 연결선 75"/>
          <p:cNvCxnSpPr/>
          <p:nvPr/>
        </p:nvCxnSpPr>
        <p:spPr>
          <a:xfrm>
            <a:off x="410534" y="1139022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grpSp>
        <p:nvGrpSpPr>
          <p:cNvPr id="77" name="그룹 76"/>
          <p:cNvGrpSpPr/>
          <p:nvPr/>
        </p:nvGrpSpPr>
        <p:grpSpPr>
          <a:xfrm>
            <a:off x="5126142" y="833613"/>
            <a:ext cx="4250629" cy="350865"/>
            <a:chOff x="5126142" y="833613"/>
            <a:chExt cx="4250629" cy="350865"/>
          </a:xfrm>
        </p:grpSpPr>
        <p:sp>
          <p:nvSpPr>
            <p:cNvPr id="78" name="TextBox 77"/>
            <p:cNvSpPr txBox="1"/>
            <p:nvPr/>
          </p:nvSpPr>
          <p:spPr>
            <a:xfrm>
              <a:off x="5372839" y="833613"/>
              <a:ext cx="3874925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400" b="1" dirty="0" err="1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ㅇㅇ</a:t>
              </a: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 </a:t>
              </a: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확보 데이터 현황 정리 </a:t>
              </a:r>
              <a:endPara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endParaRPr>
            </a:p>
          </p:txBody>
        </p:sp>
        <p:cxnSp>
          <p:nvCxnSpPr>
            <p:cNvPr id="79" name="직선 연결선 78"/>
            <p:cNvCxnSpPr/>
            <p:nvPr/>
          </p:nvCxnSpPr>
          <p:spPr>
            <a:xfrm>
              <a:off x="5126142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80" name="TextBox 79"/>
          <p:cNvSpPr txBox="1"/>
          <p:nvPr/>
        </p:nvSpPr>
        <p:spPr>
          <a:xfrm>
            <a:off x="320187" y="1239264"/>
            <a:ext cx="4318488" cy="552835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『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』, 『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』, 『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』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를 생산일자 및 보빈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ID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로 연결하여 분석 마트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구성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120787" y="1239264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『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』: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각 공정 상태를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10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분 단위로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센싱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221" name="TextBox 220"/>
          <p:cNvSpPr txBox="1"/>
          <p:nvPr/>
        </p:nvSpPr>
        <p:spPr>
          <a:xfrm>
            <a:off x="5120787" y="4338553"/>
            <a:ext cx="4504924" cy="28910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『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』: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하루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보빈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당 </a:t>
            </a:r>
            <a:r>
              <a:rPr lang="ko-KR" altLang="en-US" sz="1300" b="1" dirty="0" err="1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각선의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상태를 검사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850416" y="1915944"/>
            <a:ext cx="151486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『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공정데이터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』</a:t>
            </a:r>
            <a:endParaRPr lang="en-US" altLang="ko-KR" sz="1050" dirty="0" smtClean="0">
              <a:solidFill>
                <a:schemeClr val="bg2">
                  <a:lumMod val="25000"/>
                </a:schemeClr>
              </a:solidFill>
              <a:latin typeface="+mn-ea"/>
            </a:endParaRPr>
          </a:p>
          <a:p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~ </a:t>
            </a:r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</a:t>
            </a:r>
            <a:endParaRPr lang="en-US" altLang="ko-KR" sz="1050" dirty="0" smtClean="0">
              <a:solidFill>
                <a:schemeClr val="bg2">
                  <a:lumMod val="25000"/>
                </a:schemeClr>
              </a:solidFill>
              <a:latin typeface="+mn-ea"/>
            </a:endParaRPr>
          </a:p>
          <a:p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행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X </a:t>
            </a:r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열</a:t>
            </a:r>
            <a:endParaRPr lang="ko-KR" altLang="en-US" sz="105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838564" y="2713172"/>
            <a:ext cx="151486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『</a:t>
            </a:r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ㅇㅇ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 </a:t>
            </a:r>
            <a:r>
              <a:rPr lang="ko-KR" altLang="en-US" sz="1050" dirty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문제데이터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』</a:t>
            </a:r>
            <a:endParaRPr lang="en-US" altLang="ko-KR" sz="1050" dirty="0" smtClean="0">
              <a:solidFill>
                <a:schemeClr val="bg2">
                  <a:lumMod val="25000"/>
                </a:schemeClr>
              </a:solidFill>
              <a:latin typeface="+mn-ea"/>
            </a:endParaRPr>
          </a:p>
          <a:p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~ </a:t>
            </a:r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</a:t>
            </a:r>
            <a:endParaRPr lang="en-US" altLang="ko-KR" sz="105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  <a:p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행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X </a:t>
            </a:r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열</a:t>
            </a:r>
            <a:endParaRPr lang="ko-KR" altLang="en-US" sz="105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856150" y="3478053"/>
            <a:ext cx="151486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『</a:t>
            </a:r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ㅇㅇ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』</a:t>
            </a:r>
            <a:endParaRPr lang="en-US" altLang="ko-KR" sz="1050" dirty="0" smtClean="0">
              <a:solidFill>
                <a:schemeClr val="bg2">
                  <a:lumMod val="25000"/>
                </a:schemeClr>
              </a:solidFill>
              <a:latin typeface="+mn-ea"/>
            </a:endParaRPr>
          </a:p>
          <a:p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~ </a:t>
            </a:r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</a:t>
            </a:r>
            <a:endParaRPr lang="en-US" altLang="ko-KR" sz="105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  <a:p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행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X </a:t>
            </a:r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열</a:t>
            </a:r>
            <a:endParaRPr lang="ko-KR" altLang="en-US" sz="105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cxnSp>
        <p:nvCxnSpPr>
          <p:cNvPr id="31" name="구부러진 연결선 30"/>
          <p:cNvCxnSpPr>
            <a:endCxn id="39" idx="7"/>
          </p:cNvCxnSpPr>
          <p:nvPr/>
        </p:nvCxnSpPr>
        <p:spPr>
          <a:xfrm rot="16200000" flipH="1">
            <a:off x="925073" y="2653395"/>
            <a:ext cx="120891" cy="19145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타원 32"/>
          <p:cNvSpPr/>
          <p:nvPr/>
        </p:nvSpPr>
        <p:spPr>
          <a:xfrm>
            <a:off x="926775" y="2520609"/>
            <a:ext cx="66675" cy="6667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34" name="구부러진 연결선 33"/>
          <p:cNvCxnSpPr>
            <a:stCxn id="38" idx="7"/>
            <a:endCxn id="37" idx="4"/>
          </p:cNvCxnSpPr>
          <p:nvPr/>
        </p:nvCxnSpPr>
        <p:spPr>
          <a:xfrm rot="5400000" flipH="1" flipV="1">
            <a:off x="1646955" y="3397861"/>
            <a:ext cx="126194" cy="3273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타원 36"/>
          <p:cNvSpPr/>
          <p:nvPr/>
        </p:nvSpPr>
        <p:spPr>
          <a:xfrm>
            <a:off x="1678351" y="3269725"/>
            <a:ext cx="66675" cy="6667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타원 37"/>
          <p:cNvSpPr/>
          <p:nvPr/>
        </p:nvSpPr>
        <p:spPr>
          <a:xfrm>
            <a:off x="1651505" y="3452830"/>
            <a:ext cx="66675" cy="6667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타원 38"/>
          <p:cNvSpPr/>
          <p:nvPr/>
        </p:nvSpPr>
        <p:spPr>
          <a:xfrm>
            <a:off x="938180" y="2713650"/>
            <a:ext cx="66675" cy="6667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TextBox 65"/>
          <p:cNvSpPr txBox="1"/>
          <p:nvPr/>
        </p:nvSpPr>
        <p:spPr>
          <a:xfrm>
            <a:off x="5132510" y="3572156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『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err="1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문제데이터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』: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기존 수기 일지를 조사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10534" y="4253267"/>
            <a:ext cx="4433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총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X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열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초기 데이터 마트 구축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graphicFrame>
        <p:nvGraphicFramePr>
          <p:cNvPr id="32" name="표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5988577"/>
              </p:ext>
            </p:extLst>
          </p:nvPr>
        </p:nvGraphicFramePr>
        <p:xfrm>
          <a:off x="582325" y="4683630"/>
          <a:ext cx="4010420" cy="1412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55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11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25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85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545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70906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공정</a:t>
                      </a:r>
                      <a:endParaRPr lang="ko-KR" altLang="en-US" sz="105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밀착성</a:t>
                      </a:r>
                      <a:endParaRPr lang="ko-KR" altLang="en-US" sz="105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5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검사</a:t>
                      </a:r>
                      <a:endParaRPr lang="ko-KR" altLang="en-US" sz="105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0906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5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발생여부</a:t>
                      </a:r>
                      <a:endParaRPr lang="ko-KR" altLang="en-US" sz="105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보빈 기준</a:t>
                      </a:r>
                      <a:endParaRPr lang="ko-KR" altLang="en-US" sz="105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공정 조건 기준</a:t>
                      </a:r>
                      <a:endParaRPr lang="ko-KR" altLang="en-US" sz="105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 latinLnBrk="1"/>
                      <a:endParaRPr lang="ko-KR" altLang="en-US" sz="105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1387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ea"/>
                        </a:rPr>
                        <a:t>97,006</a:t>
                      </a:r>
                      <a:endParaRPr lang="ko-KR" altLang="en-US" sz="900" kern="120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900" kern="120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발생</a:t>
                      </a:r>
                      <a:r>
                        <a:rPr lang="en-US" altLang="ko-KR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X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내역 있음</a:t>
                      </a:r>
                      <a:endParaRPr lang="en-US" altLang="ko-KR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138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내역 없음</a:t>
                      </a:r>
                      <a:endParaRPr lang="en-US" altLang="ko-KR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73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900" kern="120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발생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내역 없음</a:t>
                      </a:r>
                      <a:endParaRPr lang="en-US" altLang="ko-KR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973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900" kern="1200" dirty="0" err="1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결측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 vMerge="1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9736">
                <a:tc vMerge="1"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>
                        <a:lnSpc>
                          <a:spcPct val="150000"/>
                        </a:lnSpc>
                      </a:pPr>
                      <a:endParaRPr lang="en-US" altLang="ko-KR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endParaRPr lang="en-US" altLang="ko-KR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4924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+mj-ea"/>
              </a:rPr>
              <a:t>4. </a:t>
            </a:r>
            <a:r>
              <a:rPr lang="ko-KR" altLang="en-US" dirty="0" err="1" smtClean="0">
                <a:latin typeface="+mj-ea"/>
              </a:rPr>
              <a:t>ㅇㅇ</a:t>
            </a:r>
            <a:r>
              <a:rPr lang="en-US" altLang="ko-KR" dirty="0" smtClean="0">
                <a:latin typeface="+mj-ea"/>
              </a:rPr>
              <a:t> </a:t>
            </a:r>
            <a:r>
              <a:rPr lang="en-US" altLang="ko-KR" dirty="0">
                <a:latin typeface="+mj-ea"/>
              </a:rPr>
              <a:t>– </a:t>
            </a:r>
            <a:r>
              <a:rPr lang="en-US" altLang="ko-KR" dirty="0" smtClean="0">
                <a:latin typeface="+mj-ea"/>
              </a:rPr>
              <a:t>2) </a:t>
            </a:r>
            <a:r>
              <a:rPr lang="ko-KR" altLang="en-US" dirty="0">
                <a:latin typeface="+mj-ea"/>
              </a:rPr>
              <a:t>데이터에 </a:t>
            </a:r>
            <a:r>
              <a:rPr lang="ko-KR" altLang="en-US" dirty="0" err="1" smtClean="0">
                <a:latin typeface="+mj-ea"/>
              </a:rPr>
              <a:t>귀울</a:t>
            </a:r>
            <a:r>
              <a:rPr lang="ko-KR" altLang="en-US" dirty="0" smtClean="0">
                <a:latin typeface="+mj-ea"/>
              </a:rPr>
              <a:t> 기울여 보았습니다</a:t>
            </a:r>
            <a:r>
              <a:rPr lang="en-US" altLang="ko-KR" dirty="0" smtClean="0">
                <a:latin typeface="+mj-ea"/>
              </a:rPr>
              <a:t>. (1/2)</a:t>
            </a:r>
            <a:endParaRPr lang="en-US" altLang="ko-KR" dirty="0">
              <a:latin typeface="+mj-e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57231" y="813098"/>
            <a:ext cx="387492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smtClean="0">
                <a:solidFill>
                  <a:prstClr val="black"/>
                </a:solidFill>
                <a:latin typeface="맑은 고딕" panose="020B0503020000020004" pitchFamily="50" charset="-127"/>
              </a:rPr>
              <a:t>각 공정들간의 상관성 분석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24" name="직선 연결선 23"/>
          <p:cNvCxnSpPr/>
          <p:nvPr/>
        </p:nvCxnSpPr>
        <p:spPr>
          <a:xfrm>
            <a:off x="410534" y="1139022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grpSp>
        <p:nvGrpSpPr>
          <p:cNvPr id="25" name="그룹 24"/>
          <p:cNvGrpSpPr/>
          <p:nvPr/>
        </p:nvGrpSpPr>
        <p:grpSpPr>
          <a:xfrm>
            <a:off x="5126142" y="833613"/>
            <a:ext cx="4250629" cy="350865"/>
            <a:chOff x="5126142" y="833613"/>
            <a:chExt cx="4250629" cy="350865"/>
          </a:xfrm>
        </p:grpSpPr>
        <p:sp>
          <p:nvSpPr>
            <p:cNvPr id="27" name="TextBox 26"/>
            <p:cNvSpPr txBox="1"/>
            <p:nvPr/>
          </p:nvSpPr>
          <p:spPr>
            <a:xfrm>
              <a:off x="5372839" y="833613"/>
              <a:ext cx="3874925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각 검사항목간의 상관성 분석</a:t>
              </a:r>
              <a:endPara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endParaRPr>
            </a:p>
          </p:txBody>
        </p:sp>
        <p:cxnSp>
          <p:nvCxnSpPr>
            <p:cNvPr id="29" name="직선 연결선 28"/>
            <p:cNvCxnSpPr/>
            <p:nvPr/>
          </p:nvCxnSpPr>
          <p:spPr>
            <a:xfrm>
              <a:off x="5126142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37" name="TextBox 36"/>
          <p:cNvSpPr txBox="1"/>
          <p:nvPr/>
        </p:nvSpPr>
        <p:spPr>
          <a:xfrm>
            <a:off x="320187" y="1239264"/>
            <a:ext cx="4318488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0" lvl="1">
              <a:lnSpc>
                <a:spcPct val="120000"/>
              </a:lnSpc>
              <a:spcAft>
                <a:spcPts val="600"/>
              </a:spcAft>
            </a:pP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Q. </a:t>
            </a:r>
            <a:r>
              <a:rPr lang="ko-KR" altLang="en-US" sz="1300" b="1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설정값대로 실제값이 셋팅 되는가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24607" y="1549596"/>
            <a:ext cx="4314447" cy="3391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A.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~~~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있음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42" name="표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762146"/>
              </p:ext>
            </p:extLst>
          </p:nvPr>
        </p:nvGraphicFramePr>
        <p:xfrm>
          <a:off x="445423" y="2250827"/>
          <a:ext cx="4082098" cy="2081032"/>
        </p:xfrm>
        <a:graphic>
          <a:graphicData uri="http://schemas.openxmlformats.org/drawingml/2006/table">
            <a:tbl>
              <a:tblPr firstRow="1" firstCol="1" bandRow="1"/>
              <a:tblGrid>
                <a:gridCol w="6054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90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3242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altLang="ko-KR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상관</a:t>
                      </a:r>
                      <a:r>
                        <a:rPr lang="ko-KR" altLang="en-US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도</a:t>
                      </a: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공정 설정</a:t>
                      </a:r>
                      <a:r>
                        <a:rPr lang="en-US" altLang="ko-KR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ko-KR" altLang="en-US" sz="1000" kern="10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실제 내역</a:t>
                      </a: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추정 원인</a:t>
                      </a:r>
                      <a:endParaRPr lang="ko-KR" sz="1000" kern="1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7779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99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779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835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7779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39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7779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21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7779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50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7779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45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7779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18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7779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22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7779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16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7779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</a:t>
                      </a:r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44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3" name="TextBox 42"/>
          <p:cNvSpPr txBox="1"/>
          <p:nvPr/>
        </p:nvSpPr>
        <p:spPr>
          <a:xfrm>
            <a:off x="310662" y="4471902"/>
            <a:ext cx="4318488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0" lvl="1">
              <a:lnSpc>
                <a:spcPct val="120000"/>
              </a:lnSpc>
              <a:spcAft>
                <a:spcPts val="600"/>
              </a:spcAft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Q.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각 측정값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(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ㅇ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)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의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구간별 변화 정도는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00782" y="4730214"/>
            <a:ext cx="4433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A.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</a:rPr>
              <a:t>전후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구간별 상관성을 조사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</a:rPr>
              <a:t>예상과는 상이한 현상 발견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grpSp>
        <p:nvGrpSpPr>
          <p:cNvPr id="46" name="그룹 45"/>
          <p:cNvGrpSpPr/>
          <p:nvPr/>
        </p:nvGrpSpPr>
        <p:grpSpPr>
          <a:xfrm>
            <a:off x="5093676" y="1242928"/>
            <a:ext cx="5075358" cy="627644"/>
            <a:chOff x="320187" y="753489"/>
            <a:chExt cx="5075358" cy="627644"/>
          </a:xfrm>
        </p:grpSpPr>
        <p:sp>
          <p:nvSpPr>
            <p:cNvPr id="47" name="TextBox 46"/>
            <p:cNvSpPr txBox="1"/>
            <p:nvPr/>
          </p:nvSpPr>
          <p:spPr>
            <a:xfrm>
              <a:off x="320187" y="753489"/>
              <a:ext cx="4318488" cy="312769"/>
            </a:xfrm>
            <a:prstGeom prst="rect">
              <a:avLst/>
            </a:prstGeom>
            <a:noFill/>
          </p:spPr>
          <p:txBody>
            <a:bodyPr wrap="square" lIns="72000" tIns="36000" rIns="36000" bIns="36000" rtlCol="0">
              <a:spAutoFit/>
            </a:bodyPr>
            <a:lstStyle/>
            <a:p>
              <a:pPr marL="0" lvl="1">
                <a:lnSpc>
                  <a:spcPct val="120000"/>
                </a:lnSpc>
                <a:spcAft>
                  <a:spcPts val="600"/>
                </a:spcAft>
              </a:pPr>
              <a:r>
                <a:rPr lang="en-US" altLang="ko-KR" sz="13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Q. </a:t>
              </a:r>
              <a:r>
                <a:rPr lang="ko-KR" altLang="en-US" sz="13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측정하는 </a:t>
              </a:r>
              <a:r>
                <a:rPr lang="ko-KR" altLang="en-US" sz="1300" b="1" dirty="0" err="1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ㅇㅇ</a:t>
              </a:r>
              <a:r>
                <a:rPr lang="ko-KR" altLang="en-US" sz="13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 </a:t>
              </a:r>
              <a:r>
                <a:rPr lang="ko-KR" altLang="en-US" sz="13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크기 </a:t>
              </a:r>
              <a:r>
                <a:rPr lang="ko-KR" altLang="en-US" sz="1300" b="1" dirty="0" err="1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값들간의</a:t>
              </a:r>
              <a:r>
                <a:rPr lang="ko-KR" altLang="en-US" sz="13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 상관성은 어떠한가</a:t>
              </a:r>
              <a:r>
                <a:rPr lang="en-US" altLang="ko-KR" sz="13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?</a:t>
              </a:r>
              <a:endPara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486152" y="1011801"/>
              <a:ext cx="490939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ko-KR" sz="1200" dirty="0" smtClean="0">
                  <a:solidFill>
                    <a:schemeClr val="bg2">
                      <a:lumMod val="25000"/>
                    </a:schemeClr>
                  </a:solidFill>
                </a:rPr>
                <a:t>A. </a:t>
              </a:r>
              <a:r>
                <a:rPr lang="ko-KR" altLang="en-US" sz="1200" smtClean="0">
                  <a:solidFill>
                    <a:schemeClr val="bg2">
                      <a:lumMod val="25000"/>
                    </a:schemeClr>
                  </a:solidFill>
                </a:rPr>
                <a:t>상관성이 큰 경우와 그렇지 않은 경우들이 존재함</a:t>
              </a:r>
              <a:endParaRPr lang="ko-KR" altLang="en-US" sz="12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sp>
        <p:nvSpPr>
          <p:cNvPr id="86" name="모서리가 둥근 직사각형 85"/>
          <p:cNvSpPr/>
          <p:nvPr/>
        </p:nvSpPr>
        <p:spPr>
          <a:xfrm>
            <a:off x="5667802" y="4551474"/>
            <a:ext cx="593896" cy="21114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schemeClr val="tx1"/>
                </a:solidFill>
              </a:rPr>
              <a:t>ㅇㅇ</a:t>
            </a:r>
            <a:endParaRPr lang="ko-KR" altLang="en-US" sz="1000" b="1" dirty="0">
              <a:solidFill>
                <a:schemeClr val="tx1"/>
              </a:solidFill>
            </a:endParaRPr>
          </a:p>
        </p:txBody>
      </p:sp>
      <p:sp>
        <p:nvSpPr>
          <p:cNvPr id="87" name="모서리가 둥근 직사각형 86"/>
          <p:cNvSpPr/>
          <p:nvPr/>
        </p:nvSpPr>
        <p:spPr>
          <a:xfrm>
            <a:off x="4979501" y="5030576"/>
            <a:ext cx="539905" cy="21114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schemeClr val="tx1"/>
                </a:solidFill>
                <a:latin typeface="+mn-ea"/>
              </a:rPr>
              <a:t>ㅇㅇㅇ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8" name="모서리가 둥근 직사각형 87"/>
          <p:cNvSpPr/>
          <p:nvPr/>
        </p:nvSpPr>
        <p:spPr>
          <a:xfrm>
            <a:off x="6407645" y="5030576"/>
            <a:ext cx="539905" cy="21114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b="1" dirty="0" err="1" smtClean="0">
                <a:solidFill>
                  <a:schemeClr val="tx1"/>
                </a:solidFill>
                <a:latin typeface="+mn-ea"/>
              </a:rPr>
              <a:t>ㅇㅇ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89" name="직선 연결선 88"/>
          <p:cNvCxnSpPr>
            <a:stCxn id="87" idx="3"/>
            <a:endCxn id="88" idx="1"/>
          </p:cNvCxnSpPr>
          <p:nvPr/>
        </p:nvCxnSpPr>
        <p:spPr>
          <a:xfrm>
            <a:off x="5519406" y="5136148"/>
            <a:ext cx="888238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모서리가 둥근 직사각형 89"/>
          <p:cNvSpPr/>
          <p:nvPr/>
        </p:nvSpPr>
        <p:spPr>
          <a:xfrm>
            <a:off x="5111647" y="5805764"/>
            <a:ext cx="653286" cy="17450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b="1" dirty="0" err="1" smtClean="0">
                <a:solidFill>
                  <a:schemeClr val="tx1"/>
                </a:solidFill>
              </a:rPr>
              <a:t>ㅇㅇ</a:t>
            </a:r>
            <a:endParaRPr lang="ko-KR" altLang="en-US" sz="800" b="1" dirty="0">
              <a:solidFill>
                <a:schemeClr val="tx1"/>
              </a:solidFill>
            </a:endParaRPr>
          </a:p>
        </p:txBody>
      </p:sp>
      <p:cxnSp>
        <p:nvCxnSpPr>
          <p:cNvPr id="91" name="직선 연결선 90"/>
          <p:cNvCxnSpPr>
            <a:endCxn id="90" idx="3"/>
          </p:cNvCxnSpPr>
          <p:nvPr/>
        </p:nvCxnSpPr>
        <p:spPr>
          <a:xfrm flipH="1">
            <a:off x="5764933" y="5892547"/>
            <a:ext cx="401913" cy="468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직선 연결선 91"/>
          <p:cNvCxnSpPr>
            <a:stCxn id="87" idx="0"/>
            <a:endCxn id="86" idx="1"/>
          </p:cNvCxnSpPr>
          <p:nvPr/>
        </p:nvCxnSpPr>
        <p:spPr>
          <a:xfrm flipV="1">
            <a:off x="5249454" y="4657047"/>
            <a:ext cx="418348" cy="373529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직선 연결선 92"/>
          <p:cNvCxnSpPr>
            <a:stCxn id="88" idx="0"/>
            <a:endCxn id="86" idx="3"/>
          </p:cNvCxnSpPr>
          <p:nvPr/>
        </p:nvCxnSpPr>
        <p:spPr>
          <a:xfrm flipH="1" flipV="1">
            <a:off x="6261698" y="4657047"/>
            <a:ext cx="415900" cy="373529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직선 연결선 93"/>
          <p:cNvCxnSpPr>
            <a:stCxn id="87" idx="2"/>
            <a:endCxn id="90" idx="0"/>
          </p:cNvCxnSpPr>
          <p:nvPr/>
        </p:nvCxnSpPr>
        <p:spPr>
          <a:xfrm>
            <a:off x="5249454" y="5241722"/>
            <a:ext cx="188836" cy="56404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직선 연결선 94"/>
          <p:cNvCxnSpPr>
            <a:stCxn id="88" idx="2"/>
            <a:endCxn id="96" idx="0"/>
          </p:cNvCxnSpPr>
          <p:nvPr/>
        </p:nvCxnSpPr>
        <p:spPr>
          <a:xfrm flipH="1">
            <a:off x="6498438" y="5241722"/>
            <a:ext cx="179160" cy="575549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모서리가 둥근 직사각형 95"/>
          <p:cNvSpPr/>
          <p:nvPr/>
        </p:nvSpPr>
        <p:spPr>
          <a:xfrm>
            <a:off x="6179648" y="5817271"/>
            <a:ext cx="637579" cy="211145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600" b="1" dirty="0" err="1" smtClean="0">
                <a:solidFill>
                  <a:schemeClr val="tx1"/>
                </a:solidFill>
              </a:rPr>
              <a:t>ㅇㅇ</a:t>
            </a:r>
            <a:endParaRPr lang="ko-KR" altLang="en-US" sz="600" b="1" dirty="0">
              <a:solidFill>
                <a:schemeClr val="tx1"/>
              </a:solidFill>
            </a:endParaRPr>
          </a:p>
        </p:txBody>
      </p:sp>
      <p:cxnSp>
        <p:nvCxnSpPr>
          <p:cNvPr id="97" name="직선 연결선 96"/>
          <p:cNvCxnSpPr>
            <a:stCxn id="96" idx="0"/>
            <a:endCxn id="87" idx="3"/>
          </p:cNvCxnSpPr>
          <p:nvPr/>
        </p:nvCxnSpPr>
        <p:spPr>
          <a:xfrm flipH="1" flipV="1">
            <a:off x="5519406" y="5136149"/>
            <a:ext cx="979032" cy="681122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직선 연결선 97"/>
          <p:cNvCxnSpPr>
            <a:stCxn id="90" idx="0"/>
            <a:endCxn id="88" idx="1"/>
          </p:cNvCxnSpPr>
          <p:nvPr/>
        </p:nvCxnSpPr>
        <p:spPr>
          <a:xfrm flipV="1">
            <a:off x="5438290" y="5136149"/>
            <a:ext cx="969355" cy="669615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직사각형 98"/>
          <p:cNvSpPr/>
          <p:nvPr/>
        </p:nvSpPr>
        <p:spPr>
          <a:xfrm>
            <a:off x="5165912" y="4578805"/>
            <a:ext cx="4509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900" b="1" dirty="0" smtClean="0">
                <a:latin typeface="+mn-ea"/>
              </a:rPr>
              <a:t>0.6870</a:t>
            </a:r>
            <a:endParaRPr lang="ko-KR" altLang="en-US" sz="900" b="1" dirty="0">
              <a:latin typeface="+mn-ea"/>
            </a:endParaRPr>
          </a:p>
        </p:txBody>
      </p:sp>
      <p:sp>
        <p:nvSpPr>
          <p:cNvPr id="100" name="직사각형 99"/>
          <p:cNvSpPr/>
          <p:nvPr/>
        </p:nvSpPr>
        <p:spPr>
          <a:xfrm>
            <a:off x="6289049" y="4552923"/>
            <a:ext cx="4509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900" b="1" dirty="0" smtClean="0">
                <a:latin typeface="+mn-ea"/>
              </a:rPr>
              <a:t>0.8098</a:t>
            </a:r>
            <a:endParaRPr lang="ko-KR" altLang="en-US" sz="900" b="1" dirty="0">
              <a:latin typeface="+mn-ea"/>
            </a:endParaRPr>
          </a:p>
        </p:txBody>
      </p:sp>
      <p:sp>
        <p:nvSpPr>
          <p:cNvPr id="101" name="직사각형 100"/>
          <p:cNvSpPr/>
          <p:nvPr/>
        </p:nvSpPr>
        <p:spPr>
          <a:xfrm>
            <a:off x="4961654" y="5444839"/>
            <a:ext cx="4509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900" b="1" dirty="0" smtClean="0">
                <a:latin typeface="+mn-ea"/>
              </a:rPr>
              <a:t>0.6885</a:t>
            </a:r>
            <a:endParaRPr lang="ko-KR" altLang="en-US" sz="900" b="1" dirty="0">
              <a:latin typeface="+mn-ea"/>
            </a:endParaRPr>
          </a:p>
        </p:txBody>
      </p:sp>
      <p:sp>
        <p:nvSpPr>
          <p:cNvPr id="102" name="직사각형 101"/>
          <p:cNvSpPr/>
          <p:nvPr/>
        </p:nvSpPr>
        <p:spPr>
          <a:xfrm>
            <a:off x="5738044" y="4868935"/>
            <a:ext cx="4509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900" b="1" dirty="0" smtClean="0">
                <a:latin typeface="+mn-ea"/>
              </a:rPr>
              <a:t>0.8006</a:t>
            </a:r>
            <a:endParaRPr lang="ko-KR" altLang="en-US" sz="900" b="1" dirty="0">
              <a:latin typeface="+mn-ea"/>
            </a:endParaRPr>
          </a:p>
        </p:txBody>
      </p:sp>
      <p:sp>
        <p:nvSpPr>
          <p:cNvPr id="103" name="직사각형 102"/>
          <p:cNvSpPr/>
          <p:nvPr/>
        </p:nvSpPr>
        <p:spPr>
          <a:xfrm>
            <a:off x="5358471" y="5245109"/>
            <a:ext cx="4509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900" b="1" dirty="0" smtClean="0">
                <a:latin typeface="+mn-ea"/>
              </a:rPr>
              <a:t>0.6578</a:t>
            </a:r>
            <a:endParaRPr lang="ko-KR" altLang="en-US" sz="900" b="1" dirty="0">
              <a:latin typeface="+mn-ea"/>
            </a:endParaRPr>
          </a:p>
        </p:txBody>
      </p:sp>
      <p:sp>
        <p:nvSpPr>
          <p:cNvPr id="104" name="직사각형 103"/>
          <p:cNvSpPr/>
          <p:nvPr/>
        </p:nvSpPr>
        <p:spPr>
          <a:xfrm>
            <a:off x="6101742" y="5245109"/>
            <a:ext cx="4509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900" b="1" dirty="0" smtClean="0">
                <a:latin typeface="+mn-ea"/>
              </a:rPr>
              <a:t>0.6908</a:t>
            </a:r>
            <a:endParaRPr lang="ko-KR" altLang="en-US" sz="900" b="1" dirty="0">
              <a:latin typeface="+mn-ea"/>
            </a:endParaRPr>
          </a:p>
        </p:txBody>
      </p:sp>
      <p:sp>
        <p:nvSpPr>
          <p:cNvPr id="105" name="직사각형 104"/>
          <p:cNvSpPr/>
          <p:nvPr/>
        </p:nvSpPr>
        <p:spPr>
          <a:xfrm>
            <a:off x="5752113" y="5573861"/>
            <a:ext cx="4509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900" b="1" dirty="0" smtClean="0">
                <a:latin typeface="+mn-ea"/>
              </a:rPr>
              <a:t>0.7638</a:t>
            </a:r>
            <a:endParaRPr lang="ko-KR" altLang="en-US" sz="900" b="1" dirty="0">
              <a:latin typeface="+mn-ea"/>
            </a:endParaRPr>
          </a:p>
        </p:txBody>
      </p:sp>
      <p:sp>
        <p:nvSpPr>
          <p:cNvPr id="106" name="직사각형 105"/>
          <p:cNvSpPr/>
          <p:nvPr/>
        </p:nvSpPr>
        <p:spPr>
          <a:xfrm>
            <a:off x="6511812" y="5433672"/>
            <a:ext cx="4509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900" b="1" dirty="0" smtClean="0">
                <a:latin typeface="+mn-ea"/>
              </a:rPr>
              <a:t>0.7353</a:t>
            </a:r>
            <a:endParaRPr lang="ko-KR" altLang="en-US" sz="900" b="1" dirty="0">
              <a:latin typeface="+mn-ea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4797659" y="3974782"/>
            <a:ext cx="3107487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</a:rPr>
              <a:t>[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</a:rPr>
              <a:t>각 검사 항목별 상관성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</a:rPr>
              <a:t>(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</a:rPr>
              <a:t>이상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</a:rPr>
              <a:t>)]</a:t>
            </a:r>
            <a:endParaRPr lang="ko-KR" altLang="en-US" sz="1050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69" name="표 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1125983"/>
              </p:ext>
            </p:extLst>
          </p:nvPr>
        </p:nvGraphicFramePr>
        <p:xfrm>
          <a:off x="7919172" y="1891094"/>
          <a:ext cx="1587818" cy="1947234"/>
        </p:xfrm>
        <a:graphic>
          <a:graphicData uri="http://schemas.openxmlformats.org/drawingml/2006/table">
            <a:tbl>
              <a:tblPr firstRow="1" firstCol="1" bandRow="1"/>
              <a:tblGrid>
                <a:gridCol w="4324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90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89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73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0905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항목</a:t>
                      </a:r>
                      <a:r>
                        <a:rPr lang="en-US" altLang="ko-KR" sz="8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1</a:t>
                      </a:r>
                      <a:endParaRPr lang="ko-KR" sz="800" kern="1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8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&amp;</a:t>
                      </a:r>
                      <a:endParaRPr lang="ko-KR" sz="800" kern="1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항목</a:t>
                      </a:r>
                      <a:r>
                        <a:rPr lang="en-US" altLang="ko-KR" sz="8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endParaRPr lang="ko-KR" sz="800" kern="1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상관성 </a:t>
                      </a:r>
                      <a:endParaRPr lang="ko-KR" sz="6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9248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①</a:t>
                      </a: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②</a:t>
                      </a: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b="1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9248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③</a:t>
                      </a: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④</a:t>
                      </a: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b="1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9248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①</a:t>
                      </a:r>
                      <a:endParaRPr lang="ko-KR" altLang="ko-KR" sz="8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③</a:t>
                      </a:r>
                      <a:endParaRPr lang="ko-KR" altLang="ko-KR" sz="8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9248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②</a:t>
                      </a:r>
                      <a:endParaRPr lang="ko-KR" altLang="ko-KR" sz="8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④</a:t>
                      </a:r>
                      <a:endParaRPr lang="ko-KR" altLang="ko-KR" sz="8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ko-KR" sz="800" kern="100" dirty="0" smtClean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0270">
                <a:tc rowSpan="4"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⑤</a:t>
                      </a:r>
                      <a:endParaRPr lang="en-US" altLang="ko-KR" sz="800" kern="100" dirty="0" smtClean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①</a:t>
                      </a:r>
                      <a:endParaRPr lang="ko-KR" altLang="ko-KR" sz="8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b="1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27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②</a:t>
                      </a:r>
                      <a:endParaRPr lang="ko-KR" altLang="ko-KR" sz="8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b="1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0270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③</a:t>
                      </a:r>
                      <a:endParaRPr lang="ko-KR" altLang="ko-KR" sz="8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027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④</a:t>
                      </a:r>
                      <a:endParaRPr lang="ko-KR" altLang="ko-KR" sz="8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90270">
                <a:tc rowSpan="4"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⑥</a:t>
                      </a: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①</a:t>
                      </a:r>
                      <a:endParaRPr lang="ko-KR" altLang="ko-KR" sz="8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9027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②</a:t>
                      </a:r>
                      <a:endParaRPr lang="ko-KR" altLang="ko-KR" sz="8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90270"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③</a:t>
                      </a:r>
                      <a:endParaRPr lang="ko-KR" altLang="ko-KR" sz="8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9027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④</a:t>
                      </a:r>
                      <a:endParaRPr lang="ko-KR" altLang="ko-KR" sz="8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8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99248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⑤</a:t>
                      </a:r>
                      <a:endParaRPr lang="en-US" altLang="ko-KR" sz="800" kern="100" dirty="0" smtClean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altLang="en-US" sz="80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8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⑥</a:t>
                      </a:r>
                      <a:endParaRPr lang="ko-KR" altLang="ko-KR" sz="800" kern="100" dirty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ko-KR" altLang="ko-KR" sz="800" b="0" i="0" u="none" strike="noStrike" kern="1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graphicFrame>
        <p:nvGraphicFramePr>
          <p:cNvPr id="70" name="표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8632435"/>
              </p:ext>
            </p:extLst>
          </p:nvPr>
        </p:nvGraphicFramePr>
        <p:xfrm>
          <a:off x="469336" y="5089279"/>
          <a:ext cx="4008878" cy="599343"/>
        </p:xfrm>
        <a:graphic>
          <a:graphicData uri="http://schemas.openxmlformats.org/drawingml/2006/table">
            <a:tbl>
              <a:tblPr firstRow="1" firstCol="1" bandRow="1"/>
              <a:tblGrid>
                <a:gridCol w="16929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60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499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9781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구분</a:t>
                      </a: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altLang="ko-KR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상관</a:t>
                      </a:r>
                      <a:r>
                        <a:rPr lang="ko-KR" altLang="en-US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도</a:t>
                      </a:r>
                      <a:r>
                        <a:rPr lang="ko-KR" altLang="ko-KR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업무 담당자 피드백</a:t>
                      </a: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78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ko-KR" sz="800" kern="100" dirty="0" smtClean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0.9917</a:t>
                      </a:r>
                      <a:endParaRPr lang="ko-KR" altLang="ko-KR" sz="800" kern="100" dirty="0" smtClean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정상</a:t>
                      </a: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781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0.7119</a:t>
                      </a: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o-KR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음의 상관관계 예</a:t>
                      </a:r>
                      <a:r>
                        <a:rPr lang="ko-KR" altLang="en-US" sz="1000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상</a:t>
                      </a:r>
                      <a:endParaRPr lang="ko-KR" sz="100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5026140"/>
              </p:ext>
            </p:extLst>
          </p:nvPr>
        </p:nvGraphicFramePr>
        <p:xfrm>
          <a:off x="7058026" y="4359116"/>
          <a:ext cx="2600943" cy="15844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74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7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74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79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26355"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sz="900" dirty="0" smtClean="0">
                          <a:solidFill>
                            <a:schemeClr val="tx1"/>
                          </a:solidFill>
                          <a:effectLst/>
                        </a:rPr>
                        <a:t>공정</a:t>
                      </a:r>
                      <a:endParaRPr lang="ko-KR" sz="9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</a:rPr>
                        <a:t>&amp;</a:t>
                      </a:r>
                      <a:endParaRPr lang="ko-KR" sz="9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sz="900" dirty="0" smtClean="0">
                          <a:solidFill>
                            <a:schemeClr val="tx1"/>
                          </a:solidFill>
                          <a:effectLst/>
                        </a:rPr>
                        <a:t>검사</a:t>
                      </a:r>
                      <a:endParaRPr lang="ko-KR" sz="9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r>
                        <a:rPr lang="ko-KR" sz="900" dirty="0">
                          <a:solidFill>
                            <a:schemeClr val="tx1"/>
                          </a:solidFill>
                          <a:effectLst/>
                        </a:rPr>
                        <a:t>상관성</a:t>
                      </a:r>
                      <a:endParaRPr lang="ko-KR" sz="9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355"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endParaRPr lang="ko-KR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endParaRPr lang="ko-KR" sz="9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</a:rPr>
                        <a:t>0.7919</a:t>
                      </a:r>
                      <a:endParaRPr lang="ko-KR" sz="9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355"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latinLnBrk="1"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</a:rPr>
                        <a:t>0.7688</a:t>
                      </a:r>
                      <a:endParaRPr lang="ko-KR" sz="9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6355"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latinLnBrk="1"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</a:rPr>
                        <a:t>-0.7415</a:t>
                      </a:r>
                      <a:endParaRPr lang="ko-KR" sz="9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6355"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ko-KR" sz="9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5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</a:rPr>
                        <a:t>-0.7258</a:t>
                      </a:r>
                      <a:endParaRPr lang="ko-KR" sz="9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6355"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ko-KR" sz="9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spcAft>
                          <a:spcPts val="0"/>
                        </a:spcAft>
                      </a:pPr>
                      <a:endParaRPr lang="ko-KR" sz="90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</a:rPr>
                        <a:t>-0.6875</a:t>
                      </a:r>
                      <a:endParaRPr lang="ko-KR" sz="9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6355"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ko-KR" sz="9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</a:rPr>
                        <a:t>-0.6681</a:t>
                      </a:r>
                      <a:endParaRPr lang="ko-KR" sz="9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굴림" panose="020B0600000101010101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2" name="TextBox 71"/>
          <p:cNvSpPr txBox="1"/>
          <p:nvPr/>
        </p:nvSpPr>
        <p:spPr>
          <a:xfrm>
            <a:off x="7331309" y="3965257"/>
            <a:ext cx="2231791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</a:rPr>
              <a:t>[</a:t>
            </a:r>
            <a:r>
              <a:rPr lang="ko-KR" altLang="en-US" sz="1050" smtClean="0">
                <a:solidFill>
                  <a:schemeClr val="bg2">
                    <a:lumMod val="25000"/>
                  </a:schemeClr>
                </a:solidFill>
              </a:rPr>
              <a:t>공정과 검사간 상관성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</a:rPr>
              <a:t>(r 0.65</a:t>
            </a:r>
            <a:r>
              <a:rPr lang="ko-KR" altLang="en-US" sz="1050" smtClean="0">
                <a:solidFill>
                  <a:schemeClr val="bg2">
                    <a:lumMod val="25000"/>
                  </a:schemeClr>
                </a:solidFill>
              </a:rPr>
              <a:t>이상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</a:rPr>
              <a:t>)]</a:t>
            </a:r>
            <a:endParaRPr lang="ko-KR" altLang="en-US" sz="105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268163" y="5810060"/>
            <a:ext cx="4475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☞ 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예상과는 다르게 상관성이 나오는 변수 원인 파악 필요</a:t>
            </a:r>
            <a:endParaRPr lang="ko-KR" altLang="en-US" sz="1200" b="1" dirty="0">
              <a:solidFill>
                <a:srgbClr val="0000FF"/>
              </a:solidFill>
              <a:latin typeface="+mn-ea"/>
            </a:endParaRPr>
          </a:p>
        </p:txBody>
      </p:sp>
      <p:sp>
        <p:nvSpPr>
          <p:cNvPr id="74" name="직사각형 73">
            <a:hlinkClick r:id="" action="ppaction://noaction"/>
          </p:cNvPr>
          <p:cNvSpPr/>
          <p:nvPr/>
        </p:nvSpPr>
        <p:spPr>
          <a:xfrm>
            <a:off x="9042888" y="6027860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dirty="0" smtClean="0">
                <a:solidFill>
                  <a:schemeClr val="tx1"/>
                </a:solidFill>
              </a:rPr>
              <a:t>상세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278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+mj-ea"/>
              </a:rPr>
              <a:t>4. </a:t>
            </a:r>
            <a:r>
              <a:rPr lang="en-US" altLang="ko-KR" dirty="0" smtClean="0">
                <a:latin typeface="+mj-ea"/>
              </a:rPr>
              <a:t>OOO </a:t>
            </a:r>
            <a:r>
              <a:rPr lang="en-US" altLang="ko-KR" dirty="0">
                <a:latin typeface="+mj-ea"/>
              </a:rPr>
              <a:t>– </a:t>
            </a:r>
            <a:r>
              <a:rPr lang="en-US" altLang="ko-KR" dirty="0" smtClean="0">
                <a:latin typeface="+mj-ea"/>
              </a:rPr>
              <a:t>2) </a:t>
            </a:r>
            <a:r>
              <a:rPr lang="ko-KR" altLang="en-US" dirty="0">
                <a:latin typeface="+mj-ea"/>
              </a:rPr>
              <a:t>데이터에 </a:t>
            </a:r>
            <a:r>
              <a:rPr lang="ko-KR" altLang="en-US" dirty="0" err="1" smtClean="0">
                <a:latin typeface="+mj-ea"/>
              </a:rPr>
              <a:t>귀울</a:t>
            </a:r>
            <a:r>
              <a:rPr lang="ko-KR" altLang="en-US" dirty="0" smtClean="0">
                <a:latin typeface="+mj-ea"/>
              </a:rPr>
              <a:t> 기울여 보았습니다</a:t>
            </a:r>
            <a:r>
              <a:rPr lang="en-US" altLang="ko-KR" dirty="0" smtClean="0">
                <a:latin typeface="+mj-ea"/>
              </a:rPr>
              <a:t>. (2/2)</a:t>
            </a:r>
            <a:endParaRPr lang="en-US" altLang="ko-KR" dirty="0">
              <a:latin typeface="+mj-ea"/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410534" y="813098"/>
            <a:ext cx="4250629" cy="350865"/>
            <a:chOff x="410534" y="813098"/>
            <a:chExt cx="4250629" cy="350865"/>
          </a:xfrm>
        </p:grpSpPr>
        <p:sp>
          <p:nvSpPr>
            <p:cNvPr id="26" name="TextBox 25"/>
            <p:cNvSpPr txBox="1"/>
            <p:nvPr/>
          </p:nvSpPr>
          <p:spPr>
            <a:xfrm>
              <a:off x="657231" y="813098"/>
              <a:ext cx="3874925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 </a:t>
              </a:r>
              <a:r>
                <a:rPr kumimoji="1" lang="ko-KR" altLang="en-US" sz="1400" b="1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검사항목 파생변수 분석 </a:t>
              </a:r>
              <a:endPara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endParaRPr>
            </a:p>
          </p:txBody>
        </p:sp>
        <p:cxnSp>
          <p:nvCxnSpPr>
            <p:cNvPr id="28" name="직선 연결선 27"/>
            <p:cNvCxnSpPr/>
            <p:nvPr/>
          </p:nvCxnSpPr>
          <p:spPr>
            <a:xfrm>
              <a:off x="410534" y="1139022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43" name="TextBox 42"/>
          <p:cNvSpPr txBox="1"/>
          <p:nvPr/>
        </p:nvSpPr>
        <p:spPr>
          <a:xfrm>
            <a:off x="5223365" y="1272365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0" lvl="1">
              <a:lnSpc>
                <a:spcPct val="120000"/>
              </a:lnSpc>
              <a:spcAft>
                <a:spcPts val="600"/>
              </a:spcAft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Q.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각 검사항목간의 변화는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255248" y="1587659"/>
            <a:ext cx="4433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A.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검사일자에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</a:rPr>
              <a:t>따른 경향성이 변하는 패턴 존재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grpSp>
        <p:nvGrpSpPr>
          <p:cNvPr id="65" name="그룹 64"/>
          <p:cNvGrpSpPr/>
          <p:nvPr/>
        </p:nvGrpSpPr>
        <p:grpSpPr>
          <a:xfrm>
            <a:off x="5287334" y="813098"/>
            <a:ext cx="4250629" cy="350865"/>
            <a:chOff x="410534" y="813098"/>
            <a:chExt cx="4250629" cy="350865"/>
          </a:xfrm>
        </p:grpSpPr>
        <p:sp>
          <p:nvSpPr>
            <p:cNvPr id="66" name="TextBox 65"/>
            <p:cNvSpPr txBox="1"/>
            <p:nvPr/>
          </p:nvSpPr>
          <p:spPr>
            <a:xfrm>
              <a:off x="657231" y="813098"/>
              <a:ext cx="3874925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 </a:t>
              </a:r>
              <a:r>
                <a:rPr kumimoji="1" lang="ko-KR" altLang="en-US" sz="1400" b="1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시간에 따른 항목 변화</a:t>
              </a:r>
              <a:endPara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endParaRPr>
            </a:p>
          </p:txBody>
        </p:sp>
        <p:cxnSp>
          <p:nvCxnSpPr>
            <p:cNvPr id="67" name="직선 연결선 66"/>
            <p:cNvCxnSpPr/>
            <p:nvPr/>
          </p:nvCxnSpPr>
          <p:spPr>
            <a:xfrm>
              <a:off x="410534" y="1139022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pic>
        <p:nvPicPr>
          <p:cNvPr id="23" name="그림 22"/>
          <p:cNvPicPr>
            <a:picLocks noChangeAspect="1"/>
          </p:cNvPicPr>
          <p:nvPr/>
        </p:nvPicPr>
        <p:blipFill rotWithShape="1">
          <a:blip r:embed="rId2"/>
          <a:srcRect t="19128" r="14565" b="66764"/>
          <a:stretch/>
        </p:blipFill>
        <p:spPr>
          <a:xfrm>
            <a:off x="5398477" y="2072980"/>
            <a:ext cx="4176345" cy="479031"/>
          </a:xfrm>
          <a:prstGeom prst="rect">
            <a:avLst/>
          </a:prstGeom>
          <a:ln w="6350">
            <a:solidFill>
              <a:schemeClr val="bg1">
                <a:lumMod val="85000"/>
              </a:schemeClr>
            </a:solidFill>
          </a:ln>
        </p:spPr>
      </p:pic>
      <p:sp>
        <p:nvSpPr>
          <p:cNvPr id="31" name="TextBox 30"/>
          <p:cNvSpPr txBox="1"/>
          <p:nvPr/>
        </p:nvSpPr>
        <p:spPr>
          <a:xfrm>
            <a:off x="5628872" y="1947432"/>
            <a:ext cx="3449615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altLang="ko-KR" sz="105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050" dirty="0" err="1" smtClean="0"/>
              <a:t>ㅇㅇ</a:t>
            </a:r>
            <a:r>
              <a:rPr lang="en-US" altLang="ko-KR" sz="1050" dirty="0" smtClean="0"/>
              <a:t> </a:t>
            </a:r>
            <a:r>
              <a:rPr lang="en-US" altLang="ko-KR" sz="1050" b="1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: </a:t>
            </a:r>
            <a:r>
              <a:rPr lang="en-US" altLang="ko-KR" sz="1050" b="1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19-06-01 </a:t>
            </a:r>
            <a:r>
              <a:rPr lang="ko-KR" altLang="en-US" sz="1050" b="1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기준으로 산포 급증</a:t>
            </a:r>
          </a:p>
        </p:txBody>
      </p:sp>
      <p:pic>
        <p:nvPicPr>
          <p:cNvPr id="46" name="그림 45"/>
          <p:cNvPicPr>
            <a:picLocks noChangeAspect="1"/>
          </p:cNvPicPr>
          <p:nvPr/>
        </p:nvPicPr>
        <p:blipFill rotWithShape="1">
          <a:blip r:embed="rId2"/>
          <a:srcRect t="33250" r="14460" b="52870"/>
          <a:stretch/>
        </p:blipFill>
        <p:spPr>
          <a:xfrm>
            <a:off x="5378970" y="2985246"/>
            <a:ext cx="4132584" cy="493059"/>
          </a:xfrm>
          <a:prstGeom prst="rect">
            <a:avLst/>
          </a:prstGeom>
          <a:ln w="6350">
            <a:solidFill>
              <a:schemeClr val="bg1">
                <a:lumMod val="85000"/>
              </a:schemeClr>
            </a:solidFill>
          </a:ln>
        </p:spPr>
      </p:pic>
      <p:sp>
        <p:nvSpPr>
          <p:cNvPr id="44" name="TextBox 43"/>
          <p:cNvSpPr txBox="1"/>
          <p:nvPr/>
        </p:nvSpPr>
        <p:spPr>
          <a:xfrm>
            <a:off x="5539224" y="2655644"/>
            <a:ext cx="43667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altLang="ko-KR" sz="120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050" dirty="0" err="1" smtClean="0"/>
              <a:t>ㅇㅇ</a:t>
            </a:r>
            <a:r>
              <a:rPr lang="en-US" altLang="ko-KR" sz="1050" dirty="0" smtClean="0"/>
              <a:t> </a:t>
            </a:r>
            <a:r>
              <a:rPr lang="en-US" altLang="ko-KR" sz="1050" b="1" dirty="0" smtClean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ko-KR" altLang="en-US" sz="1050" b="1" dirty="0" err="1" smtClean="0">
                <a:solidFill>
                  <a:schemeClr val="bg2">
                    <a:lumMod val="25000"/>
                  </a:schemeClr>
                </a:solidFill>
              </a:rPr>
              <a:t>ㅇㅇ년</a:t>
            </a:r>
            <a:r>
              <a:rPr lang="ko-KR" altLang="en-US" sz="105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050" b="1" dirty="0">
                <a:solidFill>
                  <a:schemeClr val="bg2">
                    <a:lumMod val="25000"/>
                  </a:schemeClr>
                </a:solidFill>
              </a:rPr>
              <a:t>말까지 </a:t>
            </a:r>
            <a:r>
              <a:rPr lang="en-US" altLang="ko-KR" sz="1050" b="1" dirty="0">
                <a:solidFill>
                  <a:schemeClr val="bg2">
                    <a:lumMod val="25000"/>
                  </a:schemeClr>
                </a:solidFill>
              </a:rPr>
              <a:t>0.5, </a:t>
            </a:r>
            <a:r>
              <a:rPr lang="ko-KR" altLang="en-US" sz="1050" b="1" dirty="0" err="1" smtClean="0">
                <a:solidFill>
                  <a:schemeClr val="bg2">
                    <a:lumMod val="25000"/>
                  </a:schemeClr>
                </a:solidFill>
              </a:rPr>
              <a:t>ㅇㅇ년</a:t>
            </a:r>
            <a:r>
              <a:rPr lang="ko-KR" altLang="en-US" sz="105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altLang="ko-KR" sz="1050" b="1" dirty="0">
                <a:solidFill>
                  <a:schemeClr val="bg2">
                    <a:lumMod val="25000"/>
                  </a:schemeClr>
                </a:solidFill>
              </a:rPr>
              <a:t>05</a:t>
            </a:r>
            <a:r>
              <a:rPr lang="ko-KR" altLang="en-US" sz="1050" b="1" dirty="0">
                <a:solidFill>
                  <a:schemeClr val="bg2">
                    <a:lumMod val="25000"/>
                  </a:schemeClr>
                </a:solidFill>
              </a:rPr>
              <a:t>월 이후 </a:t>
            </a:r>
            <a:r>
              <a:rPr lang="en-US" altLang="ko-KR" sz="1050" b="1" dirty="0">
                <a:solidFill>
                  <a:schemeClr val="bg2">
                    <a:lumMod val="25000"/>
                  </a:schemeClr>
                </a:solidFill>
              </a:rPr>
              <a:t>2.0</a:t>
            </a:r>
            <a:r>
              <a:rPr lang="ko-KR" altLang="en-US" sz="1050" b="1" dirty="0">
                <a:solidFill>
                  <a:schemeClr val="bg2">
                    <a:lumMod val="25000"/>
                  </a:schemeClr>
                </a:solidFill>
              </a:rPr>
              <a:t>으로 근사</a:t>
            </a:r>
          </a:p>
        </p:txBody>
      </p:sp>
      <p:pic>
        <p:nvPicPr>
          <p:cNvPr id="51" name="그림 50"/>
          <p:cNvPicPr>
            <a:picLocks noChangeAspect="1"/>
          </p:cNvPicPr>
          <p:nvPr/>
        </p:nvPicPr>
        <p:blipFill rotWithShape="1">
          <a:blip r:embed="rId3"/>
          <a:srcRect t="26032" r="15218" b="52643"/>
          <a:stretch/>
        </p:blipFill>
        <p:spPr>
          <a:xfrm>
            <a:off x="5405209" y="3558989"/>
            <a:ext cx="4097380" cy="546846"/>
          </a:xfrm>
          <a:prstGeom prst="rect">
            <a:avLst/>
          </a:prstGeom>
          <a:ln w="6350">
            <a:solidFill>
              <a:schemeClr val="bg1">
                <a:lumMod val="85000"/>
              </a:schemeClr>
            </a:solidFill>
          </a:ln>
        </p:spPr>
      </p:pic>
      <p:sp>
        <p:nvSpPr>
          <p:cNvPr id="48" name="TextBox 47"/>
          <p:cNvSpPr txBox="1"/>
          <p:nvPr/>
        </p:nvSpPr>
        <p:spPr>
          <a:xfrm>
            <a:off x="5610943" y="3579010"/>
            <a:ext cx="3449615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altLang="ko-KR" sz="105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050" dirty="0" err="1" smtClean="0"/>
              <a:t>ㅇㅇ</a:t>
            </a:r>
            <a:r>
              <a:rPr lang="en-US" altLang="ko-KR" sz="1050" dirty="0" smtClean="0"/>
              <a:t> </a:t>
            </a:r>
            <a:r>
              <a:rPr lang="en-US" altLang="ko-KR" sz="1050" dirty="0"/>
              <a:t>&amp; </a:t>
            </a:r>
            <a:r>
              <a:rPr lang="ko-KR" altLang="en-US" sz="1050" dirty="0" err="1" smtClean="0"/>
              <a:t>ㅇㅇ</a:t>
            </a:r>
            <a:r>
              <a:rPr lang="en-US" altLang="ko-KR" sz="1050" b="1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: </a:t>
            </a:r>
            <a:r>
              <a:rPr lang="ko-KR" altLang="en-US" sz="1050" b="1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점차 증가 </a:t>
            </a:r>
            <a:r>
              <a:rPr lang="ko-KR" altLang="en-US" sz="1050" b="1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추세</a:t>
            </a:r>
            <a:endParaRPr lang="ko-KR" altLang="en-US" sz="1050" b="1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539224" y="4143785"/>
            <a:ext cx="380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altLang="ko-KR" sz="120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050" dirty="0" err="1" smtClean="0"/>
              <a:t>ㅇㅇ</a:t>
            </a:r>
            <a:r>
              <a:rPr lang="en-US" altLang="ko-KR" sz="1050" b="1" dirty="0" smtClean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ko-KR" altLang="en-US" sz="1050" b="1" dirty="0">
                <a:solidFill>
                  <a:schemeClr val="bg2">
                    <a:lumMod val="25000"/>
                  </a:schemeClr>
                </a:solidFill>
              </a:rPr>
              <a:t>점차 증가 후 </a:t>
            </a:r>
            <a:r>
              <a:rPr lang="ko-KR" altLang="en-US" sz="1050" b="1" dirty="0" err="1" smtClean="0">
                <a:solidFill>
                  <a:schemeClr val="bg2">
                    <a:lumMod val="25000"/>
                  </a:schemeClr>
                </a:solidFill>
              </a:rPr>
              <a:t>ㅇㅇ년</a:t>
            </a:r>
            <a:r>
              <a:rPr lang="ko-KR" altLang="en-US" sz="105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050" b="1" dirty="0">
                <a:solidFill>
                  <a:schemeClr val="bg2">
                    <a:lumMod val="25000"/>
                  </a:schemeClr>
                </a:solidFill>
              </a:rPr>
              <a:t>말부터 급감</a:t>
            </a:r>
          </a:p>
        </p:txBody>
      </p:sp>
      <p:pic>
        <p:nvPicPr>
          <p:cNvPr id="53" name="그림 52"/>
          <p:cNvPicPr>
            <a:picLocks noChangeAspect="1"/>
          </p:cNvPicPr>
          <p:nvPr/>
        </p:nvPicPr>
        <p:blipFill rotWithShape="1">
          <a:blip r:embed="rId3"/>
          <a:srcRect t="68430" r="14694" b="10245"/>
          <a:stretch/>
        </p:blipFill>
        <p:spPr>
          <a:xfrm>
            <a:off x="5393628" y="4473388"/>
            <a:ext cx="4117924" cy="484094"/>
          </a:xfrm>
          <a:prstGeom prst="rect">
            <a:avLst/>
          </a:prstGeom>
          <a:ln w="6350">
            <a:solidFill>
              <a:schemeClr val="bg1">
                <a:lumMod val="85000"/>
              </a:schemeClr>
            </a:solidFill>
          </a:ln>
        </p:spPr>
      </p:pic>
      <p:sp>
        <p:nvSpPr>
          <p:cNvPr id="54" name="TextBox 53"/>
          <p:cNvSpPr txBox="1"/>
          <p:nvPr/>
        </p:nvSpPr>
        <p:spPr>
          <a:xfrm>
            <a:off x="5530259" y="4968538"/>
            <a:ext cx="3802000" cy="340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ko-KR" altLang="en-US" sz="1200" b="1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ko-KR" altLang="en-US" sz="1050" b="1" dirty="0" err="1" smtClean="0">
                <a:solidFill>
                  <a:schemeClr val="bg2">
                    <a:lumMod val="25000"/>
                  </a:schemeClr>
                </a:solidFill>
              </a:rPr>
              <a:t>경향</a:t>
            </a:r>
            <a:r>
              <a:rPr lang="ko-KR" altLang="en-US" sz="105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050" b="1" dirty="0">
                <a:solidFill>
                  <a:schemeClr val="bg2">
                    <a:lumMod val="25000"/>
                  </a:schemeClr>
                </a:solidFill>
              </a:rPr>
              <a:t>유사</a:t>
            </a:r>
            <a:r>
              <a:rPr lang="en-US" altLang="ko-KR" sz="1050" b="1" dirty="0" smtClean="0">
                <a:solidFill>
                  <a:schemeClr val="bg2">
                    <a:lumMod val="25000"/>
                  </a:schemeClr>
                </a:solidFill>
              </a:rPr>
              <a:t>,</a:t>
            </a:r>
            <a:r>
              <a:rPr lang="ko-KR" altLang="en-US" sz="1050" b="1" dirty="0" err="1" smtClean="0">
                <a:solidFill>
                  <a:schemeClr val="bg2">
                    <a:lumMod val="25000"/>
                  </a:schemeClr>
                </a:solidFill>
              </a:rPr>
              <a:t>ㅇㅇ년</a:t>
            </a:r>
            <a:r>
              <a:rPr lang="ko-KR" altLang="en-US" sz="105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altLang="ko-KR" sz="1050" b="1" dirty="0">
                <a:solidFill>
                  <a:schemeClr val="bg2">
                    <a:lumMod val="25000"/>
                  </a:schemeClr>
                </a:solidFill>
              </a:rPr>
              <a:t>06</a:t>
            </a:r>
            <a:r>
              <a:rPr lang="ko-KR" altLang="en-US" sz="1050" b="1" dirty="0">
                <a:solidFill>
                  <a:schemeClr val="bg2">
                    <a:lumMod val="25000"/>
                  </a:schemeClr>
                </a:solidFill>
              </a:rPr>
              <a:t>월 경부터 산포 </a:t>
            </a:r>
            <a:r>
              <a:rPr lang="ko-KR" altLang="en-US" sz="1050" b="1" dirty="0" smtClean="0">
                <a:solidFill>
                  <a:schemeClr val="bg2">
                    <a:lumMod val="25000"/>
                  </a:schemeClr>
                </a:solidFill>
              </a:rPr>
              <a:t>급감</a:t>
            </a:r>
            <a:endParaRPr lang="ko-KR" altLang="en-US" sz="1050" b="1" dirty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55" name="그림 54"/>
          <p:cNvPicPr>
            <a:picLocks noChangeAspect="1"/>
          </p:cNvPicPr>
          <p:nvPr/>
        </p:nvPicPr>
        <p:blipFill rotWithShape="1">
          <a:blip r:embed="rId4"/>
          <a:srcRect l="2339" t="28040" r="10253" b="17005"/>
          <a:stretch/>
        </p:blipFill>
        <p:spPr>
          <a:xfrm>
            <a:off x="5414681" y="5355652"/>
            <a:ext cx="4069978" cy="673673"/>
          </a:xfrm>
          <a:prstGeom prst="rect">
            <a:avLst/>
          </a:prstGeom>
          <a:ln w="6350">
            <a:solidFill>
              <a:schemeClr val="bg1">
                <a:lumMod val="85000"/>
              </a:schemeClr>
            </a:solidFill>
          </a:ln>
        </p:spPr>
      </p:pic>
      <p:sp>
        <p:nvSpPr>
          <p:cNvPr id="56" name="TextBox 55"/>
          <p:cNvSpPr txBox="1"/>
          <p:nvPr/>
        </p:nvSpPr>
        <p:spPr>
          <a:xfrm>
            <a:off x="5386824" y="2440494"/>
            <a:ext cx="1031905" cy="299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altLang="ko-KR" sz="100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altLang="ko-KR" sz="800" b="1" dirty="0" smtClean="0">
                <a:solidFill>
                  <a:schemeClr val="bg2">
                    <a:lumMod val="25000"/>
                  </a:schemeClr>
                </a:solidFill>
              </a:rPr>
              <a:t>2018-08-06</a:t>
            </a:r>
            <a:endParaRPr lang="ko-KR" altLang="en-US" sz="800" b="1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9134071" y="2341882"/>
            <a:ext cx="1031905" cy="340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altLang="ko-KR" sz="120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altLang="ko-KR" sz="800" b="1" dirty="0">
                <a:solidFill>
                  <a:schemeClr val="bg2">
                    <a:lumMod val="25000"/>
                  </a:schemeClr>
                </a:solidFill>
              </a:rPr>
              <a:t>2020-04-15</a:t>
            </a:r>
            <a:endParaRPr lang="ko-KR" altLang="en-US" sz="800" b="1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02603" y="2758134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0" lvl="1">
              <a:lnSpc>
                <a:spcPct val="120000"/>
              </a:lnSpc>
              <a:spcAft>
                <a:spcPts val="600"/>
              </a:spcAft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Q.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~~~~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보면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4648" y="3246629"/>
            <a:ext cx="4433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150000"/>
              </a:lnSpc>
              <a:buAutoNum type="alphaUcPeriod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기존에는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~~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혼용하여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측정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05534" y="5558237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0" lvl="1">
              <a:lnSpc>
                <a:spcPct val="120000"/>
              </a:lnSpc>
              <a:spcAft>
                <a:spcPts val="600"/>
              </a:spcAft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Q.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각선의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면적의 변화는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04825" y="5845461"/>
            <a:ext cx="4433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A.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산포가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낮음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45" name="표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6978660"/>
              </p:ext>
            </p:extLst>
          </p:nvPr>
        </p:nvGraphicFramePr>
        <p:xfrm>
          <a:off x="618836" y="4210851"/>
          <a:ext cx="3370857" cy="530240"/>
        </p:xfrm>
        <a:graphic>
          <a:graphicData uri="http://schemas.openxmlformats.org/drawingml/2006/table">
            <a:tbl>
              <a:tblPr firstRow="1" firstCol="1" bandRow="1"/>
              <a:tblGrid>
                <a:gridCol w="6983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53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36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3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41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값</a:t>
                      </a:r>
                      <a:endParaRPr lang="ko-KR" altLang="ko-KR" sz="1000" kern="100" dirty="0" smtClean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산출방법</a:t>
                      </a:r>
                      <a:endParaRPr lang="ko-KR" altLang="ko-KR" sz="1000" kern="100" dirty="0" smtClean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가로길이차이</a:t>
                      </a:r>
                      <a:endParaRPr lang="ko-KR" altLang="ko-KR" sz="1000" kern="100" dirty="0" smtClean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00" dirty="0" smtClean="0"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세로길이차이</a:t>
                      </a:r>
                      <a:endParaRPr lang="ko-KR" altLang="ko-KR" sz="1000" kern="100" dirty="0" smtClean="0"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7490"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7490"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 dirty="0">
                        <a:solidFill>
                          <a:srgbClr val="FF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7" name="TextBox 46"/>
          <p:cNvSpPr txBox="1"/>
          <p:nvPr/>
        </p:nvSpPr>
        <p:spPr>
          <a:xfrm>
            <a:off x="363985" y="5028873"/>
            <a:ext cx="4433152" cy="3336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☞ 두 가지 방식으로 각각 산출하여 관리할 필요가 있음</a:t>
            </a:r>
            <a:r>
              <a:rPr lang="en-US" altLang="ko-KR" sz="1200" b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70457" y="4719380"/>
            <a:ext cx="294013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900" dirty="0" smtClean="0">
                <a:solidFill>
                  <a:schemeClr val="bg2">
                    <a:lumMod val="25000"/>
                  </a:schemeClr>
                </a:solidFill>
              </a:rPr>
              <a:t>* </a:t>
            </a:r>
            <a:r>
              <a:rPr lang="ko-KR" altLang="en-US" sz="9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endParaRPr lang="en-US" altLang="ko-KR" sz="9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06288" y="3822851"/>
            <a:ext cx="4331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전체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개의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합격품 중 불합격해야 하는 보빈 발생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(2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건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)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231260" y="6082632"/>
            <a:ext cx="4433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☞ </a:t>
            </a:r>
            <a:r>
              <a:rPr lang="ko-KR" altLang="en-US" sz="1200" b="1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향성 원인 파악 및 </a:t>
            </a:r>
            <a:r>
              <a:rPr lang="ko-KR" altLang="en-US" sz="1200" b="1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기적 모니터링 필요</a:t>
            </a:r>
            <a:endParaRPr lang="en-US" altLang="ko-KR" sz="1200" b="1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19546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+mj-ea"/>
              </a:rPr>
              <a:t>4. </a:t>
            </a:r>
            <a:r>
              <a:rPr lang="ko-KR" altLang="en-US" dirty="0" err="1" smtClean="0">
                <a:latin typeface="+mj-ea"/>
              </a:rPr>
              <a:t>ㅇㅇ</a:t>
            </a:r>
            <a:r>
              <a:rPr lang="en-US" altLang="ko-KR" dirty="0" smtClean="0">
                <a:latin typeface="+mj-ea"/>
              </a:rPr>
              <a:t> </a:t>
            </a:r>
            <a:r>
              <a:rPr lang="en-US" altLang="ko-KR" dirty="0">
                <a:latin typeface="+mj-ea"/>
              </a:rPr>
              <a:t>– 3</a:t>
            </a:r>
            <a:r>
              <a:rPr lang="en-US" altLang="ko-KR" dirty="0" smtClean="0">
                <a:latin typeface="+mj-ea"/>
              </a:rPr>
              <a:t>) </a:t>
            </a:r>
            <a:r>
              <a:rPr lang="ko-KR" altLang="en-US" dirty="0" err="1" smtClean="0">
                <a:latin typeface="+mj-ea"/>
              </a:rPr>
              <a:t>ㅇㅇ</a:t>
            </a:r>
            <a:r>
              <a:rPr lang="ko-KR" altLang="en-US" dirty="0" smtClean="0">
                <a:latin typeface="+mj-ea"/>
              </a:rPr>
              <a:t> </a:t>
            </a:r>
            <a:r>
              <a:rPr lang="ko-KR" altLang="en-US" dirty="0" smtClean="0">
                <a:latin typeface="+mj-ea"/>
              </a:rPr>
              <a:t>원인을 분석해 보았습니다</a:t>
            </a:r>
            <a:r>
              <a:rPr lang="en-US" altLang="ko-KR" dirty="0" smtClean="0">
                <a:latin typeface="+mj-ea"/>
              </a:rPr>
              <a:t>. </a:t>
            </a:r>
            <a:endParaRPr lang="en-US" altLang="ko-KR" dirty="0">
              <a:latin typeface="+mj-ea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40348" y="7529018"/>
            <a:ext cx="4433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A.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검사일자에 따른 경향성 검토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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특이사항 발견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731538" y="833613"/>
            <a:ext cx="5157526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문제 발생 그룹과 그 외 그룹간의 통계적 차이 분석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32" name="직선 연결선 31"/>
          <p:cNvCxnSpPr/>
          <p:nvPr/>
        </p:nvCxnSpPr>
        <p:spPr>
          <a:xfrm>
            <a:off x="5126142" y="1159537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34" name="TextBox 33"/>
          <p:cNvSpPr txBox="1"/>
          <p:nvPr/>
        </p:nvSpPr>
        <p:spPr>
          <a:xfrm>
            <a:off x="5093676" y="1242928"/>
            <a:ext cx="48123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0" lvl="1">
              <a:lnSpc>
                <a:spcPct val="120000"/>
              </a:lnSpc>
              <a:spcAft>
                <a:spcPts val="600"/>
              </a:spcAft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Q. 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두 그룹을 구분하여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T-test 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를 수행하면 차이가 나는 변수는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  <a:endParaRPr lang="ko-KR" altLang="en-US" sz="1300" b="1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259642" y="1501240"/>
            <a:ext cx="44206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A.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</a:rPr>
              <a:t>거의 모든 변수에서 평균의 차이가 있음을 확인함 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200511" y="836544"/>
            <a:ext cx="4474502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문제 발생 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시점</a:t>
            </a:r>
            <a:r>
              <a:rPr kumimoji="1" lang="en-US" altLang="ko-KR" sz="105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(1</a:t>
            </a:r>
            <a:r>
              <a:rPr kumimoji="1" lang="ko-KR" altLang="en-US" sz="105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건 </a:t>
            </a:r>
            <a:r>
              <a:rPr kumimoji="1" lang="ko-KR" altLang="en-US" sz="1050" b="1" baseline="300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주</a:t>
            </a:r>
            <a:r>
              <a:rPr kumimoji="1" lang="en-US" altLang="ko-KR" sz="1050" b="1" baseline="30000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1)</a:t>
            </a:r>
            <a:r>
              <a:rPr kumimoji="1" lang="en-US" altLang="ko-KR" sz="105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)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의 </a:t>
            </a: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데이터 특성 분석</a:t>
            </a:r>
          </a:p>
        </p:txBody>
      </p:sp>
      <p:cxnSp>
        <p:nvCxnSpPr>
          <p:cNvPr id="73" name="직선 연결선 72"/>
          <p:cNvCxnSpPr/>
          <p:nvPr/>
        </p:nvCxnSpPr>
        <p:spPr>
          <a:xfrm>
            <a:off x="353367" y="1162468"/>
            <a:ext cx="4056478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70" name="TextBox 69"/>
          <p:cNvSpPr txBox="1"/>
          <p:nvPr/>
        </p:nvSpPr>
        <p:spPr>
          <a:xfrm>
            <a:off x="322384" y="1245859"/>
            <a:ext cx="4592517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0" lvl="1">
              <a:lnSpc>
                <a:spcPct val="120000"/>
              </a:lnSpc>
              <a:spcAft>
                <a:spcPts val="600"/>
              </a:spcAft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Q.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문제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발생 시점과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그 외 </a:t>
            </a:r>
            <a:r>
              <a:rPr lang="ko-KR" altLang="en-US" sz="1300" b="1" dirty="0" err="1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데이터간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차이가 있는가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80769" y="1504171"/>
            <a:ext cx="42187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A. </a:t>
            </a:r>
            <a:r>
              <a:rPr lang="ko-KR" altLang="en-US" sz="1200">
                <a:solidFill>
                  <a:schemeClr val="bg2">
                    <a:lumMod val="25000"/>
                  </a:schemeClr>
                </a:solidFill>
              </a:rPr>
              <a:t>두 그룹간의 기초 통계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(</a:t>
            </a:r>
            <a:r>
              <a:rPr lang="ko-KR" altLang="en-US" sz="1200">
                <a:solidFill>
                  <a:schemeClr val="bg2">
                    <a:lumMod val="25000"/>
                  </a:schemeClr>
                </a:solidFill>
              </a:rPr>
              <a:t>평균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ko-KR" altLang="en-US" sz="1200">
                <a:solidFill>
                  <a:schemeClr val="bg2">
                    <a:lumMod val="25000"/>
                  </a:schemeClr>
                </a:solidFill>
              </a:rPr>
              <a:t>중앙값 등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)</a:t>
            </a:r>
            <a:r>
              <a:rPr lang="ko-KR" altLang="en-US" sz="1200">
                <a:solidFill>
                  <a:schemeClr val="bg2">
                    <a:lumMod val="25000"/>
                  </a:schemeClr>
                </a:solidFill>
              </a:rPr>
              <a:t>기준으로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,</a:t>
            </a:r>
            <a:r>
              <a:rPr lang="ko-KR" altLang="en-US" sz="1200">
                <a:solidFill>
                  <a:schemeClr val="bg2">
                    <a:lumMod val="25000"/>
                  </a:schemeClr>
                </a:solidFill>
              </a:rPr>
              <a:t> 차이가 있는 변수가 있고 그렇지 않은 변수가 존재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18180" y="4425742"/>
            <a:ext cx="4132425" cy="552835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0" lvl="1">
              <a:lnSpc>
                <a:spcPct val="120000"/>
              </a:lnSpc>
              <a:spcAft>
                <a:spcPts val="600"/>
              </a:spcAft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Q.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문제 발생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시점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(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)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을 미시적으로 보면 움직이는 공정 변수가 있는가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74887" y="5673922"/>
            <a:ext cx="43733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800" dirty="0" smtClean="0">
                <a:solidFill>
                  <a:schemeClr val="bg2">
                    <a:lumMod val="25000"/>
                  </a:schemeClr>
                </a:solidFill>
              </a:rPr>
              <a:t>※ </a:t>
            </a:r>
            <a:r>
              <a:rPr lang="ko-KR" altLang="en-US" sz="800" smtClean="0">
                <a:solidFill>
                  <a:schemeClr val="bg2">
                    <a:lumMod val="25000"/>
                  </a:schemeClr>
                </a:solidFill>
              </a:rPr>
              <a:t>주</a:t>
            </a:r>
            <a:r>
              <a:rPr lang="en-US" altLang="ko-KR" sz="800" dirty="0" smtClean="0">
                <a:solidFill>
                  <a:schemeClr val="bg2">
                    <a:lumMod val="25000"/>
                  </a:schemeClr>
                </a:solidFill>
              </a:rPr>
              <a:t>1) </a:t>
            </a:r>
            <a:r>
              <a:rPr lang="ko-KR" altLang="en-US" sz="800" smtClean="0">
                <a:solidFill>
                  <a:schemeClr val="bg2">
                    <a:lumMod val="25000"/>
                  </a:schemeClr>
                </a:solidFill>
              </a:rPr>
              <a:t>밀착성 문제 발생 데이터가 최초 </a:t>
            </a:r>
            <a:r>
              <a:rPr lang="en-US" altLang="ko-KR" sz="800" dirty="0" smtClean="0">
                <a:solidFill>
                  <a:schemeClr val="bg2">
                    <a:lumMod val="25000"/>
                  </a:schemeClr>
                </a:solidFill>
              </a:rPr>
              <a:t>1</a:t>
            </a:r>
            <a:r>
              <a:rPr lang="ko-KR" altLang="en-US" sz="800" smtClean="0">
                <a:solidFill>
                  <a:schemeClr val="bg2">
                    <a:lumMod val="25000"/>
                  </a:schemeClr>
                </a:solidFill>
              </a:rPr>
              <a:t>건만 확보되고 나중에 추가 확보되어 분석한 결과임</a:t>
            </a:r>
            <a:endParaRPr lang="ko-KR" altLang="en-US" sz="8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84267" y="4928677"/>
            <a:ext cx="4230664" cy="6161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A.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사이에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가장 많은 수치 변동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/>
            </a:r>
            <a:b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</a:b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그 중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이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많은 변동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64" name="직사각형 63"/>
          <p:cNvSpPr/>
          <p:nvPr/>
        </p:nvSpPr>
        <p:spPr>
          <a:xfrm>
            <a:off x="3388195" y="4002940"/>
            <a:ext cx="452477" cy="353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직사각형 65"/>
          <p:cNvSpPr/>
          <p:nvPr/>
        </p:nvSpPr>
        <p:spPr>
          <a:xfrm>
            <a:off x="3614434" y="4011530"/>
            <a:ext cx="343557" cy="10148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7" name="직사각형 66"/>
          <p:cNvSpPr/>
          <p:nvPr/>
        </p:nvSpPr>
        <p:spPr>
          <a:xfrm>
            <a:off x="3614435" y="3849736"/>
            <a:ext cx="343557" cy="101483"/>
          </a:xfrm>
          <a:prstGeom prst="rect">
            <a:avLst/>
          </a:prstGeom>
          <a:solidFill>
            <a:schemeClr val="bg1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8" name="직사각형 67"/>
          <p:cNvSpPr/>
          <p:nvPr/>
        </p:nvSpPr>
        <p:spPr>
          <a:xfrm>
            <a:off x="3932987" y="3959321"/>
            <a:ext cx="64128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900" dirty="0" smtClean="0"/>
              <a:t>차이 없음</a:t>
            </a:r>
            <a:endParaRPr lang="ko-KR" altLang="en-US" sz="900" dirty="0"/>
          </a:p>
        </p:txBody>
      </p:sp>
      <p:sp>
        <p:nvSpPr>
          <p:cNvPr id="69" name="직사각형 68"/>
          <p:cNvSpPr/>
          <p:nvPr/>
        </p:nvSpPr>
        <p:spPr>
          <a:xfrm>
            <a:off x="3932988" y="3793528"/>
            <a:ext cx="64128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900" dirty="0" smtClean="0"/>
              <a:t>차이 있음</a:t>
            </a:r>
            <a:endParaRPr lang="ko-KR" altLang="en-US" sz="900" dirty="0"/>
          </a:p>
        </p:txBody>
      </p:sp>
      <p:sp>
        <p:nvSpPr>
          <p:cNvPr id="36" name="TextBox 35"/>
          <p:cNvSpPr txBox="1"/>
          <p:nvPr/>
        </p:nvSpPr>
        <p:spPr>
          <a:xfrm>
            <a:off x="5173538" y="2762060"/>
            <a:ext cx="4331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차이가 큰 변수 중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10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위까지를 도출하면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, 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37" name="직사각형 36">
            <a:hlinkClick r:id="" action="ppaction://noaction"/>
          </p:cNvPr>
          <p:cNvSpPr/>
          <p:nvPr/>
        </p:nvSpPr>
        <p:spPr>
          <a:xfrm>
            <a:off x="8461863" y="2856035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dirty="0" smtClean="0">
                <a:solidFill>
                  <a:schemeClr val="tx1"/>
                </a:solidFill>
              </a:rPr>
              <a:t>전체 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25913" y="6007199"/>
            <a:ext cx="4475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☞ 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차이 변수</a:t>
            </a:r>
            <a:r>
              <a:rPr lang="en-US" altLang="ko-KR" sz="1200" b="1" dirty="0" smtClean="0">
                <a:solidFill>
                  <a:srgbClr val="0000FF"/>
                </a:solidFill>
                <a:latin typeface="+mn-ea"/>
              </a:rPr>
              <a:t>(</a:t>
            </a:r>
            <a:r>
              <a:rPr lang="ko-KR" altLang="en-US" sz="1200" b="1" dirty="0" err="1" smtClean="0">
                <a:solidFill>
                  <a:srgbClr val="0000FF"/>
                </a:solidFill>
                <a:latin typeface="+mn-ea"/>
              </a:rPr>
              <a:t>ㅇㅇ</a:t>
            </a:r>
            <a:r>
              <a:rPr lang="en-US" altLang="ko-KR" sz="1200" b="1" dirty="0" smtClean="0">
                <a:solidFill>
                  <a:srgbClr val="0000FF"/>
                </a:solidFill>
                <a:latin typeface="+mn-ea"/>
              </a:rPr>
              <a:t> 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등</a:t>
            </a:r>
            <a:r>
              <a:rPr lang="en-US" altLang="ko-KR" sz="1200" b="1" dirty="0" smtClean="0">
                <a:solidFill>
                  <a:srgbClr val="0000FF"/>
                </a:solidFill>
                <a:latin typeface="+mn-ea"/>
              </a:rPr>
              <a:t>)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를 </a:t>
            </a:r>
            <a:r>
              <a:rPr lang="ko-KR" altLang="en-US" sz="1200" b="1" dirty="0" err="1" smtClean="0">
                <a:solidFill>
                  <a:srgbClr val="0000FF"/>
                </a:solidFill>
                <a:latin typeface="+mn-ea"/>
              </a:rPr>
              <a:t>밀착성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 발생 않도록 관리 필요</a:t>
            </a:r>
            <a:r>
              <a:rPr lang="en-US" altLang="ko-KR" sz="1200" b="1" dirty="0" smtClean="0">
                <a:solidFill>
                  <a:srgbClr val="0000FF"/>
                </a:solidFill>
                <a:latin typeface="+mn-ea"/>
              </a:rPr>
              <a:t> </a:t>
            </a:r>
            <a:endParaRPr lang="ko-KR" altLang="en-US" sz="1200" b="1" dirty="0">
              <a:solidFill>
                <a:srgbClr val="0000FF"/>
              </a:solidFill>
              <a:latin typeface="+mn-ea"/>
            </a:endParaRPr>
          </a:p>
        </p:txBody>
      </p:sp>
      <p:graphicFrame>
        <p:nvGraphicFramePr>
          <p:cNvPr id="30" name="표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8968696"/>
              </p:ext>
            </p:extLst>
          </p:nvPr>
        </p:nvGraphicFramePr>
        <p:xfrm>
          <a:off x="5385634" y="1889760"/>
          <a:ext cx="4294698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33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56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7565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625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그룹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공정 조건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보빈 수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양품</a:t>
                      </a:r>
                      <a:endParaRPr lang="en-US" altLang="ko-KR" sz="900" dirty="0" smtClean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불량</a:t>
                      </a:r>
                      <a:endParaRPr lang="en-US" altLang="ko-KR" sz="900" dirty="0" smtClean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합계</a:t>
                      </a:r>
                      <a:endParaRPr lang="en-US" altLang="ko-KR" sz="900" kern="1200" dirty="0" smtClean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3" name="표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593941"/>
              </p:ext>
            </p:extLst>
          </p:nvPr>
        </p:nvGraphicFramePr>
        <p:xfrm>
          <a:off x="5189838" y="3239803"/>
          <a:ext cx="4315389" cy="2752380"/>
        </p:xfrm>
        <a:graphic>
          <a:graphicData uri="http://schemas.openxmlformats.org/drawingml/2006/table">
            <a:tbl>
              <a:tblPr/>
              <a:tblGrid>
                <a:gridCol w="2682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1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05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825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25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4455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49011">
                <a:tc rowSpan="2"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순위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균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표준편차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ko-KR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 </a:t>
                      </a:r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검정값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절대치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01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밀착성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밀착성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밀착성</a:t>
                      </a:r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밀착성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40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40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340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340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340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340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340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340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340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ko-KR" alt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3406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8487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+mj-ea"/>
              </a:rPr>
              <a:t>4. </a:t>
            </a:r>
            <a:r>
              <a:rPr lang="en-US" altLang="ko-KR" dirty="0" smtClean="0">
                <a:latin typeface="+mj-ea"/>
              </a:rPr>
              <a:t>OOO </a:t>
            </a:r>
            <a:r>
              <a:rPr lang="en-US" altLang="ko-KR" dirty="0">
                <a:latin typeface="+mj-ea"/>
              </a:rPr>
              <a:t>– </a:t>
            </a:r>
            <a:r>
              <a:rPr lang="en-US" altLang="ko-KR" dirty="0" smtClean="0">
                <a:latin typeface="+mj-ea"/>
              </a:rPr>
              <a:t>4) </a:t>
            </a:r>
            <a:r>
              <a:rPr lang="ko-KR" altLang="en-US" dirty="0">
                <a:latin typeface="+mj-ea"/>
              </a:rPr>
              <a:t>현재 확보된 데이터 만으로 공정을 예측해 보았습니다</a:t>
            </a:r>
            <a:r>
              <a:rPr lang="en-US" altLang="ko-KR" dirty="0">
                <a:latin typeface="+mj-ea"/>
              </a:rPr>
              <a:t>. </a:t>
            </a:r>
            <a:endParaRPr lang="ko-KR" altLang="en-US" dirty="0">
              <a:latin typeface="+mj-ea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250363" y="813098"/>
            <a:ext cx="4688660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4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ㅇ</a:t>
            </a:r>
            <a:r>
              <a:rPr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문제</a:t>
            </a:r>
            <a:r>
              <a:rPr lang="en-US" altLang="ko-KR" sz="11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(</a:t>
            </a:r>
            <a:r>
              <a:rPr lang="ko-KR" altLang="en-US" sz="11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</a:t>
            </a:r>
            <a:r>
              <a:rPr lang="en-US" altLang="ko-KR" sz="11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)</a:t>
            </a:r>
            <a:r>
              <a:rPr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포함 </a:t>
            </a:r>
            <a:r>
              <a:rPr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기계학습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112" name="직선 연결선 111"/>
          <p:cNvCxnSpPr/>
          <p:nvPr/>
        </p:nvCxnSpPr>
        <p:spPr>
          <a:xfrm>
            <a:off x="410534" y="1139022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grpSp>
        <p:nvGrpSpPr>
          <p:cNvPr id="113" name="그룹 112"/>
          <p:cNvGrpSpPr/>
          <p:nvPr/>
        </p:nvGrpSpPr>
        <p:grpSpPr>
          <a:xfrm>
            <a:off x="5126142" y="833613"/>
            <a:ext cx="4250629" cy="350865"/>
            <a:chOff x="5126142" y="833613"/>
            <a:chExt cx="4250629" cy="350865"/>
          </a:xfrm>
        </p:grpSpPr>
        <p:sp>
          <p:nvSpPr>
            <p:cNvPr id="114" name="TextBox 113"/>
            <p:cNvSpPr txBox="1"/>
            <p:nvPr/>
          </p:nvSpPr>
          <p:spPr>
            <a:xfrm>
              <a:off x="5372839" y="833613"/>
              <a:ext cx="3874925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400" b="1" dirty="0" err="1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ㅇㅇ모델</a:t>
              </a: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 </a:t>
              </a:r>
              <a:r>
                <a:rPr kumimoji="1"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</a:rPr>
                <a:t>성능과 유효변수</a:t>
              </a:r>
            </a:p>
          </p:txBody>
        </p:sp>
        <p:cxnSp>
          <p:nvCxnSpPr>
            <p:cNvPr id="115" name="직선 연결선 114"/>
            <p:cNvCxnSpPr/>
            <p:nvPr/>
          </p:nvCxnSpPr>
          <p:spPr>
            <a:xfrm>
              <a:off x="5126142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grpSp>
        <p:nvGrpSpPr>
          <p:cNvPr id="6" name="그룹 5"/>
          <p:cNvGrpSpPr/>
          <p:nvPr/>
        </p:nvGrpSpPr>
        <p:grpSpPr>
          <a:xfrm>
            <a:off x="697693" y="1477048"/>
            <a:ext cx="3747063" cy="250152"/>
            <a:chOff x="697693" y="1477048"/>
            <a:chExt cx="3747063" cy="158113"/>
          </a:xfrm>
        </p:grpSpPr>
        <p:sp>
          <p:nvSpPr>
            <p:cNvPr id="130" name="직사각형 129"/>
            <p:cNvSpPr/>
            <p:nvPr/>
          </p:nvSpPr>
          <p:spPr>
            <a:xfrm>
              <a:off x="2218888" y="1477048"/>
              <a:ext cx="705813" cy="158113"/>
            </a:xfrm>
            <a:prstGeom prst="rect">
              <a:avLst/>
            </a:prstGeom>
            <a:solidFill>
              <a:srgbClr val="BFBFB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700" dirty="0" err="1" smtClean="0">
                  <a:solidFill>
                    <a:schemeClr val="tx1"/>
                  </a:solidFill>
                  <a:latin typeface="+mn-ea"/>
                </a:rPr>
                <a:t>ㅇㅇ</a:t>
              </a:r>
              <a:endParaRPr lang="ko-KR" altLang="en-US" sz="7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31" name="직사각형 130"/>
            <p:cNvSpPr/>
            <p:nvPr/>
          </p:nvSpPr>
          <p:spPr>
            <a:xfrm>
              <a:off x="2977613" y="1477048"/>
              <a:ext cx="705813" cy="158113"/>
            </a:xfrm>
            <a:prstGeom prst="rect">
              <a:avLst/>
            </a:prstGeom>
            <a:solidFill>
              <a:srgbClr val="BFBFB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600" dirty="0" err="1" smtClean="0">
                  <a:solidFill>
                    <a:schemeClr val="tx1"/>
                  </a:solidFill>
                  <a:latin typeface="+mn-ea"/>
                </a:rPr>
                <a:t>ㅇㅇ</a:t>
              </a:r>
              <a:endParaRPr lang="ko-KR" altLang="en-US" sz="6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32" name="직사각형 131"/>
            <p:cNvSpPr/>
            <p:nvPr/>
          </p:nvSpPr>
          <p:spPr>
            <a:xfrm>
              <a:off x="3738943" y="1477048"/>
              <a:ext cx="705813" cy="158113"/>
            </a:xfrm>
            <a:prstGeom prst="rect">
              <a:avLst/>
            </a:prstGeom>
            <a:solidFill>
              <a:srgbClr val="BFBFB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600" dirty="0" err="1" smtClean="0">
                  <a:solidFill>
                    <a:schemeClr val="tx1"/>
                  </a:solidFill>
                  <a:latin typeface="+mn-ea"/>
                </a:rPr>
                <a:t>ㅇㅇ</a:t>
              </a:r>
              <a:endParaRPr lang="ko-KR" altLang="en-US" sz="6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133" name="직사각형 132"/>
            <p:cNvSpPr/>
            <p:nvPr/>
          </p:nvSpPr>
          <p:spPr>
            <a:xfrm>
              <a:off x="697693" y="1477048"/>
              <a:ext cx="705813" cy="158113"/>
            </a:xfrm>
            <a:prstGeom prst="rect">
              <a:avLst/>
            </a:prstGeom>
            <a:solidFill>
              <a:srgbClr val="7F7F7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6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6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34" name="직사각형 133"/>
            <p:cNvSpPr/>
            <p:nvPr/>
          </p:nvSpPr>
          <p:spPr>
            <a:xfrm>
              <a:off x="1457352" y="1477048"/>
              <a:ext cx="705813" cy="158113"/>
            </a:xfrm>
            <a:prstGeom prst="rect">
              <a:avLst/>
            </a:prstGeom>
            <a:solidFill>
              <a:srgbClr val="7F7F7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6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600" dirty="0"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139" name="직사각형 138"/>
          <p:cNvSpPr/>
          <p:nvPr/>
        </p:nvSpPr>
        <p:spPr>
          <a:xfrm>
            <a:off x="496325" y="1388875"/>
            <a:ext cx="4168434" cy="643126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/>
          </a:p>
        </p:txBody>
      </p:sp>
      <p:sp>
        <p:nvSpPr>
          <p:cNvPr id="140" name="직사각형 139"/>
          <p:cNvSpPr/>
          <p:nvPr/>
        </p:nvSpPr>
        <p:spPr>
          <a:xfrm>
            <a:off x="2121820" y="1250802"/>
            <a:ext cx="925423" cy="24622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ko-KR" sz="1000" dirty="0" smtClean="0"/>
              <a:t>X</a:t>
            </a:r>
            <a:r>
              <a:rPr lang="ko-KR" altLang="en-US" sz="1000" dirty="0" smtClean="0"/>
              <a:t>인자</a:t>
            </a:r>
            <a:r>
              <a:rPr lang="en-US" altLang="ko-KR" sz="1000" dirty="0" smtClean="0"/>
              <a:t>(</a:t>
            </a:r>
            <a:r>
              <a:rPr lang="ko-KR" altLang="en-US" sz="1000" dirty="0" err="1" smtClean="0"/>
              <a:t>ㅇㅇ개</a:t>
            </a:r>
            <a:r>
              <a:rPr lang="en-US" altLang="ko-KR" sz="1000" dirty="0" smtClean="0"/>
              <a:t>)</a:t>
            </a:r>
            <a:endParaRPr lang="en-US" altLang="ko-KR" sz="1000" dirty="0"/>
          </a:p>
        </p:txBody>
      </p:sp>
      <p:grpSp>
        <p:nvGrpSpPr>
          <p:cNvPr id="5" name="그룹 4"/>
          <p:cNvGrpSpPr/>
          <p:nvPr/>
        </p:nvGrpSpPr>
        <p:grpSpPr>
          <a:xfrm>
            <a:off x="496325" y="2078037"/>
            <a:ext cx="4137221" cy="526618"/>
            <a:chOff x="496325" y="3509673"/>
            <a:chExt cx="4137221" cy="571289"/>
          </a:xfrm>
        </p:grpSpPr>
        <p:sp>
          <p:nvSpPr>
            <p:cNvPr id="142" name="직사각형 141"/>
            <p:cNvSpPr/>
            <p:nvPr/>
          </p:nvSpPr>
          <p:spPr>
            <a:xfrm>
              <a:off x="496325" y="3648180"/>
              <a:ext cx="769767" cy="430822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43" name="직사각형 142"/>
            <p:cNvSpPr/>
            <p:nvPr/>
          </p:nvSpPr>
          <p:spPr>
            <a:xfrm>
              <a:off x="504616" y="3509673"/>
              <a:ext cx="754481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1100" dirty="0" smtClean="0"/>
                <a:t>Y</a:t>
              </a:r>
              <a:r>
                <a:rPr lang="ko-KR" altLang="en-US" sz="1100" dirty="0" smtClean="0"/>
                <a:t>인자</a:t>
              </a:r>
              <a:endParaRPr lang="en-US" altLang="ko-KR" sz="1100" dirty="0"/>
            </a:p>
          </p:txBody>
        </p:sp>
        <p:sp>
          <p:nvSpPr>
            <p:cNvPr id="144" name="직사각형 143"/>
            <p:cNvSpPr/>
            <p:nvPr/>
          </p:nvSpPr>
          <p:spPr>
            <a:xfrm>
              <a:off x="627467" y="3749626"/>
              <a:ext cx="510143" cy="252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00" dirty="0" err="1" smtClean="0">
                  <a:solidFill>
                    <a:schemeClr val="tx1"/>
                  </a:solidFill>
                  <a:latin typeface="+mj-ea"/>
                  <a:ea typeface="+mj-ea"/>
                </a:rPr>
                <a:t>ㅇㅇ</a:t>
              </a:r>
              <a:endParaRPr lang="ko-KR" altLang="en-US" sz="1000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grpSp>
          <p:nvGrpSpPr>
            <p:cNvPr id="3" name="그룹 2"/>
            <p:cNvGrpSpPr/>
            <p:nvPr/>
          </p:nvGrpSpPr>
          <p:grpSpPr>
            <a:xfrm>
              <a:off x="1283677" y="3520200"/>
              <a:ext cx="3349869" cy="560762"/>
              <a:chOff x="496325" y="5382838"/>
              <a:chExt cx="4164837" cy="560762"/>
            </a:xfrm>
          </p:grpSpPr>
          <p:sp>
            <p:nvSpPr>
              <p:cNvPr id="145" name="직사각형 144"/>
              <p:cNvSpPr/>
              <p:nvPr/>
            </p:nvSpPr>
            <p:spPr>
              <a:xfrm>
                <a:off x="496325" y="5513155"/>
                <a:ext cx="4164837" cy="43044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  <p:sp>
            <p:nvSpPr>
              <p:cNvPr id="146" name="직사각형 145"/>
              <p:cNvSpPr/>
              <p:nvPr/>
            </p:nvSpPr>
            <p:spPr>
              <a:xfrm>
                <a:off x="1719741" y="5382838"/>
                <a:ext cx="1945555" cy="28380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>
                <a:spAutoFit/>
              </a:bodyPr>
              <a:lstStyle/>
              <a:p>
                <a:pPr algn="ctr"/>
                <a:r>
                  <a:rPr lang="ko-KR" altLang="en-US" sz="1100" dirty="0" smtClean="0"/>
                  <a:t>미 사용인자 </a:t>
                </a:r>
                <a:r>
                  <a:rPr lang="en-US" altLang="ko-KR" sz="1100" dirty="0" smtClean="0"/>
                  <a:t>( </a:t>
                </a:r>
                <a:r>
                  <a:rPr lang="en-US" altLang="ko-KR" sz="1100" dirty="0"/>
                  <a:t>3</a:t>
                </a:r>
                <a:r>
                  <a:rPr lang="en-US" altLang="ko-KR" sz="1100" dirty="0" smtClean="0"/>
                  <a:t> + 24</a:t>
                </a:r>
                <a:r>
                  <a:rPr lang="ko-KR" altLang="en-US" sz="1100" dirty="0" smtClean="0"/>
                  <a:t>개</a:t>
                </a:r>
                <a:r>
                  <a:rPr lang="en-US" altLang="ko-KR" sz="1100" dirty="0"/>
                  <a:t>)</a:t>
                </a:r>
              </a:p>
            </p:txBody>
          </p:sp>
          <p:sp>
            <p:nvSpPr>
              <p:cNvPr id="179" name="직사각형 178"/>
              <p:cNvSpPr/>
              <p:nvPr/>
            </p:nvSpPr>
            <p:spPr>
              <a:xfrm>
                <a:off x="2217011" y="5660219"/>
                <a:ext cx="705813" cy="229091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800" dirty="0" smtClean="0">
                    <a:solidFill>
                      <a:schemeClr val="tx1"/>
                    </a:solidFill>
                    <a:latin typeface="+mn-ea"/>
                  </a:rPr>
                  <a:t>보빈</a:t>
                </a:r>
                <a:r>
                  <a:rPr lang="en-US" altLang="ko-KR" sz="800" dirty="0" smtClean="0">
                    <a:solidFill>
                      <a:schemeClr val="tx1"/>
                    </a:solidFill>
                    <a:latin typeface="+mn-ea"/>
                  </a:rPr>
                  <a:t>ID</a:t>
                </a:r>
                <a:endParaRPr lang="ko-KR" altLang="en-US" sz="800" dirty="0">
                  <a:solidFill>
                    <a:schemeClr val="tx1"/>
                  </a:solidFill>
                  <a:latin typeface="+mn-ea"/>
                </a:endParaRPr>
              </a:p>
            </p:txBody>
          </p:sp>
          <p:sp>
            <p:nvSpPr>
              <p:cNvPr id="180" name="직사각형 179"/>
              <p:cNvSpPr/>
              <p:nvPr/>
            </p:nvSpPr>
            <p:spPr>
              <a:xfrm>
                <a:off x="697693" y="5660219"/>
                <a:ext cx="705813" cy="229091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800" dirty="0" smtClean="0">
                    <a:solidFill>
                      <a:schemeClr val="tx1"/>
                    </a:solidFill>
                    <a:latin typeface="+mn-ea"/>
                  </a:rPr>
                  <a:t>생산일자</a:t>
                </a:r>
                <a:endParaRPr lang="ko-KR" altLang="en-US" sz="800" dirty="0">
                  <a:solidFill>
                    <a:schemeClr val="tx1"/>
                  </a:solidFill>
                  <a:latin typeface="+mn-ea"/>
                </a:endParaRPr>
              </a:p>
            </p:txBody>
          </p:sp>
          <p:sp>
            <p:nvSpPr>
              <p:cNvPr id="181" name="직사각형 180"/>
              <p:cNvSpPr/>
              <p:nvPr/>
            </p:nvSpPr>
            <p:spPr>
              <a:xfrm>
                <a:off x="1457352" y="5660219"/>
                <a:ext cx="705813" cy="229091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800" dirty="0" smtClean="0">
                    <a:solidFill>
                      <a:schemeClr val="tx1"/>
                    </a:solidFill>
                    <a:latin typeface="+mn-ea"/>
                  </a:rPr>
                  <a:t>생산시간</a:t>
                </a:r>
                <a:endParaRPr lang="ko-KR" altLang="en-US" sz="800" dirty="0">
                  <a:solidFill>
                    <a:schemeClr val="tx1"/>
                  </a:solidFill>
                  <a:latin typeface="+mn-ea"/>
                </a:endParaRPr>
              </a:p>
            </p:txBody>
          </p:sp>
          <p:sp>
            <p:nvSpPr>
              <p:cNvPr id="75" name="직사각형 74"/>
              <p:cNvSpPr/>
              <p:nvPr/>
            </p:nvSpPr>
            <p:spPr>
              <a:xfrm>
                <a:off x="2976444" y="5660219"/>
                <a:ext cx="1387504" cy="229091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800" dirty="0" smtClean="0">
                    <a:solidFill>
                      <a:schemeClr val="tx1"/>
                    </a:solidFill>
                    <a:latin typeface="+mn-ea"/>
                  </a:rPr>
                  <a:t>검사데이터 변수</a:t>
                </a:r>
                <a:r>
                  <a:rPr lang="en-US" altLang="ko-KR" sz="800" dirty="0" smtClean="0">
                    <a:solidFill>
                      <a:schemeClr val="tx1"/>
                    </a:solidFill>
                    <a:latin typeface="+mn-ea"/>
                  </a:rPr>
                  <a:t>(</a:t>
                </a:r>
                <a:r>
                  <a:rPr lang="ko-KR" altLang="en-US" sz="800" dirty="0" err="1" smtClean="0">
                    <a:solidFill>
                      <a:schemeClr val="tx1"/>
                    </a:solidFill>
                    <a:latin typeface="+mn-ea"/>
                  </a:rPr>
                  <a:t>ㅇㅇ</a:t>
                </a:r>
                <a:r>
                  <a:rPr lang="ko-KR" altLang="en-US" sz="800" dirty="0" err="1" smtClean="0">
                    <a:solidFill>
                      <a:schemeClr val="tx1"/>
                    </a:solidFill>
                    <a:latin typeface="+mn-ea"/>
                  </a:rPr>
                  <a:t>개</a:t>
                </a:r>
                <a:r>
                  <a:rPr lang="en-US" altLang="ko-KR" sz="800" dirty="0" smtClean="0">
                    <a:solidFill>
                      <a:schemeClr val="tx1"/>
                    </a:solidFill>
                    <a:latin typeface="+mn-ea"/>
                  </a:rPr>
                  <a:t>)</a:t>
                </a:r>
                <a:endParaRPr lang="ko-KR" altLang="en-US" sz="800" dirty="0">
                  <a:solidFill>
                    <a:schemeClr val="tx1"/>
                  </a:solidFill>
                  <a:latin typeface="+mn-ea"/>
                </a:endParaRPr>
              </a:p>
            </p:txBody>
          </p:sp>
        </p:grpSp>
      </p:grpSp>
      <p:sp>
        <p:nvSpPr>
          <p:cNvPr id="186" name="TextBox 185"/>
          <p:cNvSpPr txBox="1"/>
          <p:nvPr/>
        </p:nvSpPr>
        <p:spPr>
          <a:xfrm>
            <a:off x="5119419" y="4284877"/>
            <a:ext cx="4450791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err="1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머신러닝이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추정하는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밀착성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발생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인자와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방지방안은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5505781" y="4580712"/>
            <a:ext cx="46814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9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1</a:t>
            </a:r>
            <a:r>
              <a:rPr lang="ko-KR" altLang="en-US" sz="9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등</a:t>
            </a:r>
            <a:endParaRPr lang="en-US" altLang="ko-KR" sz="9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7101838" y="4598640"/>
            <a:ext cx="468149" cy="273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9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3</a:t>
            </a:r>
            <a:r>
              <a:rPr lang="ko-KR" altLang="en-US" sz="9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등</a:t>
            </a:r>
            <a:endParaRPr lang="en-US" altLang="ko-KR" sz="9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190" name="TextBox 189"/>
          <p:cNvSpPr txBox="1"/>
          <p:nvPr/>
        </p:nvSpPr>
        <p:spPr>
          <a:xfrm>
            <a:off x="7898008" y="4575193"/>
            <a:ext cx="468149" cy="273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9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4</a:t>
            </a:r>
            <a:r>
              <a:rPr lang="ko-KR" altLang="en-US" sz="9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등</a:t>
            </a:r>
            <a:endParaRPr lang="en-US" altLang="ko-KR" sz="9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8693892" y="4560539"/>
            <a:ext cx="468149" cy="273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9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5</a:t>
            </a:r>
            <a:r>
              <a:rPr lang="ko-KR" altLang="en-US" sz="9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등</a:t>
            </a:r>
            <a:endParaRPr lang="en-US" altLang="ko-KR" sz="9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5789746" y="4806324"/>
            <a:ext cx="468149" cy="186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9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2</a:t>
            </a:r>
            <a:r>
              <a:rPr lang="ko-KR" altLang="en-US" sz="9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등</a:t>
            </a:r>
            <a:endParaRPr lang="en-US" altLang="ko-KR" sz="9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195" name="TextBox 194"/>
          <p:cNvSpPr txBox="1"/>
          <p:nvPr/>
        </p:nvSpPr>
        <p:spPr>
          <a:xfrm>
            <a:off x="9296060" y="4855476"/>
            <a:ext cx="26163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000" b="1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…</a:t>
            </a:r>
            <a:endParaRPr lang="en-US" altLang="ko-KR" sz="1000" b="1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196" name="직사각형 195"/>
          <p:cNvSpPr/>
          <p:nvPr/>
        </p:nvSpPr>
        <p:spPr>
          <a:xfrm>
            <a:off x="5381388" y="4845019"/>
            <a:ext cx="716935" cy="2937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7" name="직사각형 196"/>
          <p:cNvSpPr/>
          <p:nvPr/>
        </p:nvSpPr>
        <p:spPr>
          <a:xfrm>
            <a:off x="6179490" y="4845019"/>
            <a:ext cx="716935" cy="2937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8" name="직사각형 197"/>
          <p:cNvSpPr/>
          <p:nvPr/>
        </p:nvSpPr>
        <p:spPr>
          <a:xfrm>
            <a:off x="6977445" y="4845018"/>
            <a:ext cx="716935" cy="2937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8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9" name="직사각형 198"/>
          <p:cNvSpPr/>
          <p:nvPr/>
        </p:nvSpPr>
        <p:spPr>
          <a:xfrm>
            <a:off x="7773615" y="4845017"/>
            <a:ext cx="716935" cy="2937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00" name="직사각형 199"/>
          <p:cNvSpPr/>
          <p:nvPr/>
        </p:nvSpPr>
        <p:spPr>
          <a:xfrm>
            <a:off x="8569499" y="4845017"/>
            <a:ext cx="716935" cy="2937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8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3" name="TextBox 192"/>
          <p:cNvSpPr txBox="1"/>
          <p:nvPr/>
        </p:nvSpPr>
        <p:spPr>
          <a:xfrm>
            <a:off x="6303883" y="4580712"/>
            <a:ext cx="468149" cy="273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9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2</a:t>
            </a:r>
            <a:r>
              <a:rPr lang="ko-KR" altLang="en-US" sz="9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등</a:t>
            </a:r>
            <a:endParaRPr lang="en-US" altLang="ko-KR" sz="9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213" name="TextBox 212"/>
          <p:cNvSpPr txBox="1"/>
          <p:nvPr/>
        </p:nvSpPr>
        <p:spPr>
          <a:xfrm>
            <a:off x="5024846" y="1253874"/>
            <a:ext cx="4881153" cy="572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2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가지 </a:t>
            </a:r>
            <a:r>
              <a:rPr lang="ko-KR" altLang="en-US" sz="1300" b="1" dirty="0" err="1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머신러닝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알고리즘</a:t>
            </a:r>
            <a:r>
              <a:rPr lang="en-US" altLang="ko-KR" sz="11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(Decision </a:t>
            </a:r>
            <a:r>
              <a:rPr lang="en-US" altLang="ko-KR" sz="11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Tree, Random Forest)</a:t>
            </a:r>
            <a:r>
              <a:rPr lang="ko-KR" altLang="en-US" sz="1300" b="1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으로 학습 및 검증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214" name="TextBox 213"/>
          <p:cNvSpPr txBox="1"/>
          <p:nvPr/>
        </p:nvSpPr>
        <p:spPr>
          <a:xfrm>
            <a:off x="5024847" y="2936516"/>
            <a:ext cx="3255554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en-US" altLang="ko-KR" sz="1300" b="1" dirty="0">
                <a:solidFill>
                  <a:prstClr val="black"/>
                </a:solidFill>
                <a:cs typeface="Arial"/>
              </a:rPr>
              <a:t>2</a:t>
            </a:r>
            <a:r>
              <a:rPr kumimoji="1" lang="ko-KR" altLang="en-US" sz="1300" b="1" dirty="0" smtClean="0">
                <a:solidFill>
                  <a:prstClr val="black"/>
                </a:solidFill>
                <a:cs typeface="Arial"/>
              </a:rPr>
              <a:t>가지 알고리즘 中 </a:t>
            </a:r>
            <a:r>
              <a:rPr kumimoji="1" lang="en-US" altLang="ko-KR" sz="1300" b="1" dirty="0" smtClean="0">
                <a:solidFill>
                  <a:prstClr val="black"/>
                </a:solidFill>
                <a:cs typeface="Arial"/>
              </a:rPr>
              <a:t>DT</a:t>
            </a:r>
            <a:r>
              <a:rPr kumimoji="1" lang="ko-KR" altLang="en-US" sz="1300" b="1" dirty="0" smtClean="0">
                <a:solidFill>
                  <a:prstClr val="black"/>
                </a:solidFill>
                <a:cs typeface="Arial"/>
              </a:rPr>
              <a:t>가 가장 성능 좋음</a:t>
            </a:r>
            <a:endParaRPr kumimoji="1" lang="ko-KR" altLang="en-US" sz="1300" b="1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2384213" y="1701359"/>
            <a:ext cx="358987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050" b="1" dirty="0" smtClean="0">
                <a:latin typeface="+mn-ea"/>
              </a:rPr>
              <a:t>…</a:t>
            </a:r>
            <a:endParaRPr lang="en-US" altLang="ko-KR" sz="1050" b="1" dirty="0">
              <a:latin typeface="+mn-ea"/>
            </a:endParaRPr>
          </a:p>
        </p:txBody>
      </p:sp>
      <p:graphicFrame>
        <p:nvGraphicFramePr>
          <p:cNvPr id="267" name="표 2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9332125"/>
              </p:ext>
            </p:extLst>
          </p:nvPr>
        </p:nvGraphicFramePr>
        <p:xfrm>
          <a:off x="260588" y="5151337"/>
          <a:ext cx="4561499" cy="10769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34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05740"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구분</a:t>
                      </a:r>
                      <a:endParaRPr lang="ko-KR" altLang="en-US" sz="900" b="0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err="1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밀착성</a:t>
                      </a:r>
                      <a:r>
                        <a:rPr lang="ko-KR" altLang="en-US" sz="900" b="0" kern="12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 문제</a:t>
                      </a:r>
                      <a:endParaRPr lang="en-US" altLang="ko-KR" sz="900" b="0" kern="1200" dirty="0" smtClean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정상</a:t>
                      </a:r>
                      <a:r>
                        <a:rPr lang="en-US" altLang="ko-KR" sz="900" b="0" kern="12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900" b="0" kern="1200" dirty="0" err="1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밀착성</a:t>
                      </a:r>
                      <a:r>
                        <a:rPr lang="ko-KR" altLang="en-US" sz="900" b="0" kern="12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900" b="0" kern="12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X)</a:t>
                      </a:r>
                      <a:endParaRPr lang="ko-KR" altLang="en-US" sz="900" b="0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합계</a:t>
                      </a:r>
                      <a:endParaRPr lang="ko-KR" altLang="en-US" sz="900" b="0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5740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보빈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공정 조건</a:t>
                      </a:r>
                      <a:endParaRPr lang="ko-KR" altLang="en-US" sz="900" b="0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보빈</a:t>
                      </a:r>
                      <a:endParaRPr lang="ko-KR" altLang="en-US" sz="900" b="0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공정 조건</a:t>
                      </a:r>
                      <a:endParaRPr lang="ko-KR" altLang="en-US" sz="900" b="0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1821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학습</a:t>
                      </a:r>
                      <a:endParaRPr lang="en-US" altLang="ko-KR" sz="900" b="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1821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검증</a:t>
                      </a:r>
                      <a:endParaRPr lang="en-US" altLang="ko-KR" sz="900" b="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1821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b="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합계</a:t>
                      </a:r>
                      <a:endParaRPr lang="en-US" altLang="ko-KR" sz="900" b="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76" name="표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3104026"/>
              </p:ext>
            </p:extLst>
          </p:nvPr>
        </p:nvGraphicFramePr>
        <p:xfrm>
          <a:off x="5167907" y="3352194"/>
          <a:ext cx="4443974" cy="627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58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76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85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85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1858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185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1618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5606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알고리즘</a:t>
                      </a:r>
                      <a:endParaRPr lang="en-US" altLang="ko-KR" sz="900" dirty="0" smtClean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오답수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정확도</a:t>
                      </a:r>
                      <a:r>
                        <a:rPr lang="en-US" altLang="ko-KR" sz="9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(%)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미검율</a:t>
                      </a:r>
                      <a:r>
                        <a:rPr lang="en-US" altLang="ko-KR" sz="9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(%)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재현율</a:t>
                      </a:r>
                      <a:r>
                        <a:rPr lang="en-US" altLang="ko-KR" sz="9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(%)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err="1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과검율</a:t>
                      </a:r>
                      <a:r>
                        <a:rPr lang="en-US" altLang="ko-KR" sz="9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(%)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dirty="0" smtClean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AUROC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06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1" kern="1200" dirty="0" smtClean="0"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Arial"/>
                        </a:rPr>
                        <a:t>Decision Tree</a:t>
                      </a:r>
                      <a:r>
                        <a:rPr kumimoji="1" lang="ko-KR" altLang="en-US" sz="900" b="1" kern="1200" smtClean="0"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Arial"/>
                        </a:rPr>
                        <a:t>　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06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1" kern="1200" dirty="0" smtClean="0">
                          <a:solidFill>
                            <a:prstClr val="black"/>
                          </a:solidFill>
                          <a:latin typeface="+mn-ea"/>
                          <a:ea typeface="+mn-ea"/>
                          <a:cs typeface="Arial"/>
                        </a:rPr>
                        <a:t>Random Forest</a:t>
                      </a: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8" name="TextBox 77"/>
          <p:cNvSpPr txBox="1"/>
          <p:nvPr/>
        </p:nvSpPr>
        <p:spPr>
          <a:xfrm>
            <a:off x="5125913" y="5743385"/>
            <a:ext cx="4475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☞ 유효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 변수</a:t>
            </a:r>
            <a:r>
              <a:rPr lang="en-US" altLang="ko-KR" sz="1200" b="1" dirty="0" smtClean="0">
                <a:solidFill>
                  <a:srgbClr val="0000FF"/>
                </a:solidFill>
                <a:latin typeface="+mn-ea"/>
              </a:rPr>
              <a:t>(</a:t>
            </a:r>
            <a:r>
              <a:rPr lang="ko-KR" altLang="en-US" sz="1200" b="1" dirty="0" err="1" smtClean="0">
                <a:solidFill>
                  <a:srgbClr val="0000FF"/>
                </a:solidFill>
                <a:latin typeface="+mn-ea"/>
              </a:rPr>
              <a:t>ㅇㅇ</a:t>
            </a:r>
            <a:r>
              <a:rPr lang="en-US" altLang="ko-KR" sz="1200" b="1" dirty="0" smtClean="0">
                <a:solidFill>
                  <a:srgbClr val="0000FF"/>
                </a:solidFill>
                <a:latin typeface="+mn-ea"/>
              </a:rPr>
              <a:t>4 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등</a:t>
            </a:r>
            <a:r>
              <a:rPr lang="en-US" altLang="ko-KR" sz="1200" b="1" dirty="0" smtClean="0">
                <a:solidFill>
                  <a:srgbClr val="0000FF"/>
                </a:solidFill>
                <a:latin typeface="+mn-ea"/>
              </a:rPr>
              <a:t>)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 </a:t>
            </a:r>
            <a:r>
              <a:rPr lang="ko-KR" altLang="en-US" sz="1200" b="1" dirty="0" err="1" smtClean="0">
                <a:solidFill>
                  <a:srgbClr val="0000FF"/>
                </a:solidFill>
                <a:latin typeface="+mn-ea"/>
              </a:rPr>
              <a:t>ㅇㅇ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 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발생 않도록 관리 필요</a:t>
            </a:r>
            <a:r>
              <a:rPr lang="en-US" altLang="ko-KR" sz="1200" b="1" dirty="0" smtClean="0">
                <a:solidFill>
                  <a:srgbClr val="0000FF"/>
                </a:solidFill>
                <a:latin typeface="+mn-ea"/>
              </a:rPr>
              <a:t> </a:t>
            </a:r>
            <a:endParaRPr lang="ko-KR" altLang="en-US" sz="1200" b="1" dirty="0">
              <a:solidFill>
                <a:srgbClr val="0000FF"/>
              </a:solidFill>
              <a:latin typeface="+mn-ea"/>
            </a:endParaRPr>
          </a:p>
        </p:txBody>
      </p:sp>
      <p:graphicFrame>
        <p:nvGraphicFramePr>
          <p:cNvPr id="79" name="표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6525218"/>
              </p:ext>
            </p:extLst>
          </p:nvPr>
        </p:nvGraphicFramePr>
        <p:xfrm>
          <a:off x="5186795" y="1921164"/>
          <a:ext cx="4326658" cy="733425"/>
        </p:xfrm>
        <a:graphic>
          <a:graphicData uri="http://schemas.openxmlformats.org/drawingml/2006/table">
            <a:tbl>
              <a:tblPr/>
              <a:tblGrid>
                <a:gridCol w="618094">
                  <a:extLst>
                    <a:ext uri="{9D8B030D-6E8A-4147-A177-3AD203B41FA5}">
                      <a16:colId xmlns:a16="http://schemas.microsoft.com/office/drawing/2014/main" val="2439859525"/>
                    </a:ext>
                  </a:extLst>
                </a:gridCol>
                <a:gridCol w="618094">
                  <a:extLst>
                    <a:ext uri="{9D8B030D-6E8A-4147-A177-3AD203B41FA5}">
                      <a16:colId xmlns:a16="http://schemas.microsoft.com/office/drawing/2014/main" val="1916038166"/>
                    </a:ext>
                  </a:extLst>
                </a:gridCol>
                <a:gridCol w="6180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80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1809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1809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18094">
                  <a:extLst>
                    <a:ext uri="{9D8B030D-6E8A-4147-A177-3AD203B41FA5}">
                      <a16:colId xmlns:a16="http://schemas.microsoft.com/office/drawing/2014/main" val="3141757827"/>
                    </a:ext>
                  </a:extLst>
                </a:gridCol>
              </a:tblGrid>
              <a:tr h="146685"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900" b="1" dirty="0" smtClean="0">
                          <a:solidFill>
                            <a:prstClr val="black"/>
                          </a:solidFill>
                          <a:cs typeface="Arial"/>
                        </a:rPr>
                        <a:t>구분</a:t>
                      </a:r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1" dirty="0" smtClean="0">
                          <a:solidFill>
                            <a:prstClr val="black"/>
                          </a:solidFill>
                          <a:cs typeface="Arial"/>
                        </a:rPr>
                        <a:t>Decision Tree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1" dirty="0" smtClean="0">
                          <a:solidFill>
                            <a:prstClr val="black"/>
                          </a:solidFill>
                          <a:cs typeface="Arial"/>
                        </a:rPr>
                        <a:t>Random Fores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80556"/>
                  </a:ext>
                </a:extLst>
              </a:tr>
              <a:tr h="146685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상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불량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상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불량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4653170"/>
                  </a:ext>
                </a:extLst>
              </a:tr>
              <a:tr h="14668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제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정상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8484577"/>
                  </a:ext>
                </a:extLst>
              </a:tr>
              <a:tr h="14668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불량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008296"/>
                  </a:ext>
                </a:extLst>
              </a:tr>
              <a:tr h="14668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8876669"/>
                  </a:ext>
                </a:extLst>
              </a:tr>
            </a:tbl>
          </a:graphicData>
        </a:graphic>
      </p:graphicFrame>
      <p:sp>
        <p:nvSpPr>
          <p:cNvPr id="77" name="TextBox 76"/>
          <p:cNvSpPr txBox="1"/>
          <p:nvPr/>
        </p:nvSpPr>
        <p:spPr>
          <a:xfrm>
            <a:off x="5390994" y="5289013"/>
            <a:ext cx="73654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 smtClean="0"/>
              <a:t>ㅇㅇ</a:t>
            </a:r>
            <a:r>
              <a:rPr lang="ko-KR" altLang="en-US" sz="1300" dirty="0" smtClean="0"/>
              <a:t>↓</a:t>
            </a:r>
            <a:r>
              <a:rPr lang="en-US" altLang="ko-KR" sz="1300" dirty="0" smtClean="0"/>
              <a:t> </a:t>
            </a:r>
            <a:endParaRPr lang="ko-KR" altLang="en-US" sz="1300" dirty="0"/>
          </a:p>
        </p:txBody>
      </p:sp>
      <p:sp>
        <p:nvSpPr>
          <p:cNvPr id="80" name="TextBox 79"/>
          <p:cNvSpPr txBox="1"/>
          <p:nvPr/>
        </p:nvSpPr>
        <p:spPr>
          <a:xfrm>
            <a:off x="6189159" y="5289013"/>
            <a:ext cx="73654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 smtClean="0"/>
              <a:t>ㅇㅇ</a:t>
            </a:r>
            <a:r>
              <a:rPr lang="ko-KR" altLang="en-US" sz="1300" dirty="0" smtClean="0"/>
              <a:t>↑</a:t>
            </a:r>
            <a:endParaRPr lang="ko-KR" altLang="en-US" sz="1300" dirty="0"/>
          </a:p>
        </p:txBody>
      </p:sp>
      <p:sp>
        <p:nvSpPr>
          <p:cNvPr id="81" name="TextBox 80"/>
          <p:cNvSpPr txBox="1"/>
          <p:nvPr/>
        </p:nvSpPr>
        <p:spPr>
          <a:xfrm>
            <a:off x="7049356" y="5289013"/>
            <a:ext cx="73654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 smtClean="0"/>
              <a:t>ㅇㅇ</a:t>
            </a:r>
            <a:r>
              <a:rPr lang="ko-KR" altLang="en-US" sz="1300" dirty="0" smtClean="0"/>
              <a:t>↑</a:t>
            </a:r>
            <a:endParaRPr lang="ko-KR" altLang="en-US" sz="1300" dirty="0"/>
          </a:p>
        </p:txBody>
      </p:sp>
      <p:sp>
        <p:nvSpPr>
          <p:cNvPr id="82" name="TextBox 81"/>
          <p:cNvSpPr txBox="1"/>
          <p:nvPr/>
        </p:nvSpPr>
        <p:spPr>
          <a:xfrm>
            <a:off x="7859071" y="5289013"/>
            <a:ext cx="64671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 smtClean="0"/>
              <a:t>ㅇㅇ</a:t>
            </a:r>
            <a:r>
              <a:rPr lang="ko-KR" altLang="en-US" sz="1300" dirty="0" smtClean="0"/>
              <a:t>↓</a:t>
            </a:r>
            <a:endParaRPr lang="ko-KR" altLang="en-US" sz="1300" dirty="0"/>
          </a:p>
        </p:txBody>
      </p:sp>
      <p:sp>
        <p:nvSpPr>
          <p:cNvPr id="83" name="TextBox 82"/>
          <p:cNvSpPr txBox="1"/>
          <p:nvPr/>
        </p:nvSpPr>
        <p:spPr>
          <a:xfrm>
            <a:off x="8630877" y="5289013"/>
            <a:ext cx="64671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00" dirty="0" err="1" smtClean="0"/>
              <a:t>ㅇㅇ</a:t>
            </a:r>
            <a:r>
              <a:rPr lang="ko-KR" altLang="en-US" sz="1300" dirty="0" smtClean="0"/>
              <a:t>↓</a:t>
            </a:r>
            <a:endParaRPr lang="ko-KR" altLang="en-US" sz="1300" dirty="0"/>
          </a:p>
        </p:txBody>
      </p:sp>
      <p:sp>
        <p:nvSpPr>
          <p:cNvPr id="74" name="직사각형 73">
            <a:hlinkClick r:id="" action="ppaction://noaction"/>
          </p:cNvPr>
          <p:cNvSpPr/>
          <p:nvPr/>
        </p:nvSpPr>
        <p:spPr>
          <a:xfrm>
            <a:off x="9296060" y="5552489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dirty="0" smtClean="0">
                <a:solidFill>
                  <a:schemeClr val="tx1"/>
                </a:solidFill>
              </a:rPr>
              <a:t>상세 내역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702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+mj-ea"/>
              </a:rPr>
              <a:t>4. </a:t>
            </a:r>
            <a:r>
              <a:rPr lang="en-US" altLang="ko-KR" dirty="0" smtClean="0">
                <a:latin typeface="+mj-ea"/>
              </a:rPr>
              <a:t>OOO </a:t>
            </a:r>
            <a:r>
              <a:rPr lang="en-US" altLang="ko-KR" dirty="0">
                <a:latin typeface="+mj-ea"/>
              </a:rPr>
              <a:t>– 5</a:t>
            </a:r>
            <a:r>
              <a:rPr lang="en-US" altLang="ko-KR" dirty="0" smtClean="0">
                <a:latin typeface="+mj-ea"/>
              </a:rPr>
              <a:t>) </a:t>
            </a:r>
            <a:r>
              <a:rPr lang="ko-KR" altLang="en-US" dirty="0" smtClean="0">
                <a:latin typeface="+mj-ea"/>
              </a:rPr>
              <a:t>새로운 </a:t>
            </a:r>
            <a:r>
              <a:rPr lang="ko-KR" altLang="en-US" dirty="0" err="1" smtClean="0">
                <a:latin typeface="+mj-ea"/>
              </a:rPr>
              <a:t>관리상하한</a:t>
            </a:r>
            <a:r>
              <a:rPr lang="ko-KR" altLang="en-US" dirty="0" smtClean="0">
                <a:latin typeface="+mj-ea"/>
              </a:rPr>
              <a:t> 제시</a:t>
            </a:r>
            <a:endParaRPr lang="en-US" altLang="ko-KR" dirty="0">
              <a:latin typeface="+mj-ea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9425474"/>
              </p:ext>
            </p:extLst>
          </p:nvPr>
        </p:nvGraphicFramePr>
        <p:xfrm>
          <a:off x="413158" y="1410121"/>
          <a:ext cx="4326392" cy="4861368"/>
        </p:xfrm>
        <a:graphic>
          <a:graphicData uri="http://schemas.openxmlformats.org/drawingml/2006/table">
            <a:tbl>
              <a:tblPr/>
              <a:tblGrid>
                <a:gridCol w="14557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05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01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01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02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968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8258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0255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-Test </a:t>
                      </a:r>
                      <a:r>
                        <a:rPr lang="ko-KR" alt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과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계학습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55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밀착성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밀착성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용안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임계치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용안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임계치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LS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202557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</a:tbl>
          </a:graphicData>
        </a:graphic>
      </p:graphicFrame>
      <p:graphicFrame>
        <p:nvGraphicFramePr>
          <p:cNvPr id="41" name="표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7033358"/>
              </p:ext>
            </p:extLst>
          </p:nvPr>
        </p:nvGraphicFramePr>
        <p:xfrm>
          <a:off x="5229922" y="1403921"/>
          <a:ext cx="4470383" cy="4886040"/>
        </p:xfrm>
        <a:graphic>
          <a:graphicData uri="http://schemas.openxmlformats.org/drawingml/2006/table">
            <a:tbl>
              <a:tblPr/>
              <a:tblGrid>
                <a:gridCol w="14557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32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92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68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21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968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627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0358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T-Test </a:t>
                      </a:r>
                      <a:r>
                        <a:rPr lang="ko-KR" altLang="en-US" sz="9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결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계학습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585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밀착성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밀착성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용안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임계치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활용안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임계치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LS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USL</a:t>
                      </a:r>
                      <a:endParaRPr lang="en-US" altLang="ko-KR" sz="1000" b="1" i="0" u="none" strike="noStrike" dirty="0">
                        <a:solidFill>
                          <a:srgbClr val="FF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203585"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10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LSL</a:t>
                      </a:r>
                      <a:endParaRPr lang="en-US" altLang="ko-KR" sz="1000" b="1" i="0" u="none" strike="noStrike" dirty="0">
                        <a:solidFill>
                          <a:srgbClr val="0000FF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</a:tbl>
          </a:graphicData>
        </a:graphic>
      </p:graphicFrame>
      <p:sp>
        <p:nvSpPr>
          <p:cNvPr id="42" name="TextBox 41"/>
          <p:cNvSpPr txBox="1"/>
          <p:nvPr/>
        </p:nvSpPr>
        <p:spPr>
          <a:xfrm>
            <a:off x="351373" y="671571"/>
            <a:ext cx="9328336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T-Test 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</a:rPr>
              <a:t>결과를 활용하여 정상 평균이 밀착성 평균보다 높으면 두 평균의 중앙값을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LSL(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</a:rPr>
              <a:t>관리하한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)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으로 관리하기를 제시함 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697763" y="942495"/>
            <a:ext cx="30860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7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※ </a:t>
            </a:r>
            <a:r>
              <a:rPr lang="ko-KR" altLang="en-US" sz="7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중앙값이 </a:t>
            </a:r>
            <a:r>
              <a:rPr lang="ko-KR" altLang="en-US" sz="7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아니라</a:t>
            </a:r>
            <a:r>
              <a:rPr lang="en-US" altLang="ko-KR" sz="7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, </a:t>
            </a:r>
            <a:r>
              <a:rPr lang="ko-KR" altLang="en-US" sz="7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두 그래프가 지나는 교차점을 구해서 산정 가능함</a:t>
            </a:r>
            <a:endParaRPr lang="ko-KR" altLang="en-US" sz="7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37519" y="934807"/>
            <a:ext cx="9328336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유사하게 기계학습 기반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임계치를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표현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85548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5. </a:t>
            </a:r>
            <a:r>
              <a:rPr lang="ko-KR" altLang="en-US" smtClean="0">
                <a:latin typeface="+mj-ea"/>
              </a:rPr>
              <a:t>과제 요약 및 앞으로의 방향성 제안 </a:t>
            </a:r>
            <a:r>
              <a:rPr lang="en-US" altLang="ko-KR" dirty="0" smtClean="0">
                <a:latin typeface="+mj-ea"/>
              </a:rPr>
              <a:t>(1/2)</a:t>
            </a:r>
            <a:endParaRPr lang="ko-KR" altLang="en-US" dirty="0">
              <a:latin typeface="+mj-ea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657231" y="813098"/>
            <a:ext cx="3874925" cy="325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ㅇ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96" name="직선 연결선 95"/>
          <p:cNvCxnSpPr/>
          <p:nvPr/>
        </p:nvCxnSpPr>
        <p:spPr>
          <a:xfrm>
            <a:off x="410534" y="1139022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grpSp>
        <p:nvGrpSpPr>
          <p:cNvPr id="97" name="그룹 96"/>
          <p:cNvGrpSpPr/>
          <p:nvPr/>
        </p:nvGrpSpPr>
        <p:grpSpPr>
          <a:xfrm>
            <a:off x="5126142" y="833613"/>
            <a:ext cx="4250629" cy="325924"/>
            <a:chOff x="5126142" y="833613"/>
            <a:chExt cx="4250629" cy="325924"/>
          </a:xfrm>
        </p:grpSpPr>
        <p:sp>
          <p:nvSpPr>
            <p:cNvPr id="99" name="TextBox 98"/>
            <p:cNvSpPr txBox="1"/>
            <p:nvPr/>
          </p:nvSpPr>
          <p:spPr>
            <a:xfrm>
              <a:off x="5372839" y="833613"/>
              <a:ext cx="3874925" cy="325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400" b="1" dirty="0" err="1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ㅇㅇㅇ</a:t>
              </a:r>
              <a:endPara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endParaRPr>
            </a:p>
          </p:txBody>
        </p:sp>
        <p:cxnSp>
          <p:nvCxnSpPr>
            <p:cNvPr id="100" name="직선 연결선 99"/>
            <p:cNvCxnSpPr/>
            <p:nvPr/>
          </p:nvCxnSpPr>
          <p:spPr>
            <a:xfrm>
              <a:off x="5126142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20" name="TextBox 19"/>
          <p:cNvSpPr txBox="1"/>
          <p:nvPr/>
        </p:nvSpPr>
        <p:spPr>
          <a:xfrm>
            <a:off x="226247" y="1234789"/>
            <a:ext cx="4539239" cy="28910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ㅇㅇ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6247" y="1861890"/>
            <a:ext cx="4539239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이상치를 제거하여 분석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26247" y="2248925"/>
            <a:ext cx="4539239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은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검사 규격을 보다 타이트하게 관리 필요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6247" y="2876026"/>
            <a:ext cx="4539239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특정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불순물ㅇㅇ간의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비정상적인 상관성 확인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26247" y="6028461"/>
            <a:ext cx="4539239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이하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관리 필요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821338" y="1230171"/>
            <a:ext cx="4539239" cy="28910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ㅇ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821338" y="1985974"/>
            <a:ext cx="4539239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설정대로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셋팅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되는 공정과 그렇지 않은 공정 확인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21338" y="2501711"/>
            <a:ext cx="4539239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기타 확인해 볼 만한 상관관계 확인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821338" y="3017448"/>
            <a:ext cx="4539239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ㅇ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측정시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가로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세로 모두 측정 필요 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821338" y="3533185"/>
            <a:ext cx="4539239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검사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일자별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추이성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있으니 확인 필요 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395383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1. </a:t>
            </a:r>
            <a:r>
              <a:rPr lang="ko-KR" altLang="en-US" smtClean="0">
                <a:latin typeface="+mj-ea"/>
              </a:rPr>
              <a:t>비즈니스 요구사항</a:t>
            </a:r>
            <a:endParaRPr lang="ko-KR" altLang="en-US">
              <a:latin typeface="+mj-ea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57231" y="813098"/>
            <a:ext cx="387492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OOO 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불량 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원인 분석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34" name="직선 연결선 33"/>
          <p:cNvCxnSpPr/>
          <p:nvPr/>
        </p:nvCxnSpPr>
        <p:spPr>
          <a:xfrm>
            <a:off x="410534" y="1139022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grpSp>
        <p:nvGrpSpPr>
          <p:cNvPr id="36" name="그룹 35"/>
          <p:cNvGrpSpPr/>
          <p:nvPr/>
        </p:nvGrpSpPr>
        <p:grpSpPr>
          <a:xfrm>
            <a:off x="5126142" y="833613"/>
            <a:ext cx="4250629" cy="350865"/>
            <a:chOff x="5126142" y="833613"/>
            <a:chExt cx="4250629" cy="350865"/>
          </a:xfrm>
        </p:grpSpPr>
        <p:sp>
          <p:nvSpPr>
            <p:cNvPr id="37" name="TextBox 36"/>
            <p:cNvSpPr txBox="1"/>
            <p:nvPr/>
          </p:nvSpPr>
          <p:spPr>
            <a:xfrm>
              <a:off x="5372839" y="833613"/>
              <a:ext cx="3874925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OOO</a:t>
              </a: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 불량 </a:t>
              </a: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원인 분석</a:t>
              </a:r>
              <a:endPara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endParaRPr>
            </a:p>
          </p:txBody>
        </p:sp>
        <p:cxnSp>
          <p:nvCxnSpPr>
            <p:cNvPr id="41" name="직선 연결선 40"/>
            <p:cNvCxnSpPr/>
            <p:nvPr/>
          </p:nvCxnSpPr>
          <p:spPr>
            <a:xfrm>
              <a:off x="5126142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43" name="TextBox 42"/>
          <p:cNvSpPr txBox="1"/>
          <p:nvPr/>
        </p:nvSpPr>
        <p:spPr>
          <a:xfrm>
            <a:off x="5022829" y="1285133"/>
            <a:ext cx="4699796" cy="552835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OOO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생산공정 데이터와 검사데이터와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OOO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문제 발생 데이터를 분석하여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불량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원인 분석 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20187" y="1239264"/>
            <a:ext cx="4357321" cy="552835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OOO </a:t>
            </a:r>
            <a:r>
              <a:rPr lang="ko-KR" altLang="en-US" sz="1300" b="1" dirty="0" err="1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품질검사와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단선으로 클레임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데이터를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분석하여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단선 원인 분석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465629" y="3281629"/>
            <a:ext cx="4370873" cy="11657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은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도체 생산 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24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시간 연속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공정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각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Lot ID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별 온도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압력 등 데이터 측정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 (QPIS)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결함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비율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등 측정하고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관리상하한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기준 등급 부여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</a:rPr>
              <a:t>(1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</a:rPr>
              <a:t>~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</a:rPr>
              <a:t>4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</a:rPr>
              <a:t>등급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</a:rPr>
              <a:t>, 4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</a:rPr>
              <a:t>등급이 최상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</a:rPr>
              <a:t>)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473689" y="4482512"/>
            <a:ext cx="42968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OO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과정 중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불량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으로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클레임 시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설비 상 문제 여부 분석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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원인 파악 어려움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</a:rPr>
              <a:t>(</a:t>
            </a:r>
            <a:r>
              <a:rPr lang="ko-KR" altLang="en-US" sz="1050" dirty="0">
                <a:solidFill>
                  <a:schemeClr val="bg2">
                    <a:lumMod val="25000"/>
                  </a:schemeClr>
                </a:solidFill>
              </a:rPr>
              <a:t>만성 불량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</a:rPr>
              <a:t>)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5509702" y="2004824"/>
            <a:ext cx="3978550" cy="869781"/>
            <a:chOff x="5091954" y="2004824"/>
            <a:chExt cx="4814046" cy="869781"/>
          </a:xfrm>
        </p:grpSpPr>
        <p:sp>
          <p:nvSpPr>
            <p:cNvPr id="99" name="직사각형 98"/>
            <p:cNvSpPr/>
            <p:nvPr/>
          </p:nvSpPr>
          <p:spPr>
            <a:xfrm>
              <a:off x="7684489" y="2009758"/>
              <a:ext cx="889987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kumimoji="1" lang="ko-KR" altLang="en-US" sz="1100" dirty="0">
                  <a:solidFill>
                    <a:prstClr val="black"/>
                  </a:solidFill>
                  <a:cs typeface="Arial"/>
                </a:rPr>
                <a:t>검사데이터</a:t>
              </a:r>
            </a:p>
          </p:txBody>
        </p:sp>
        <p:sp>
          <p:nvSpPr>
            <p:cNvPr id="100" name="직사각형 99"/>
            <p:cNvSpPr/>
            <p:nvPr/>
          </p:nvSpPr>
          <p:spPr>
            <a:xfrm>
              <a:off x="6414420" y="2004824"/>
              <a:ext cx="889987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kumimoji="1" lang="ko-KR" altLang="en-US" sz="1100" dirty="0">
                  <a:solidFill>
                    <a:prstClr val="black"/>
                  </a:solidFill>
                  <a:cs typeface="Arial"/>
                </a:rPr>
                <a:t>공정데이터</a:t>
              </a:r>
            </a:p>
          </p:txBody>
        </p:sp>
        <p:pic>
          <p:nvPicPr>
            <p:cNvPr id="107" name="그림 10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35590" y="2026747"/>
              <a:ext cx="174111" cy="213175"/>
            </a:xfrm>
            <a:prstGeom prst="rect">
              <a:avLst/>
            </a:prstGeom>
          </p:spPr>
        </p:pic>
        <p:pic>
          <p:nvPicPr>
            <p:cNvPr id="108" name="그림 10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1121" y="2379491"/>
              <a:ext cx="300586" cy="258950"/>
            </a:xfrm>
            <a:prstGeom prst="rect">
              <a:avLst/>
            </a:prstGeom>
          </p:spPr>
        </p:pic>
        <p:sp>
          <p:nvSpPr>
            <p:cNvPr id="109" name="직사각형 108"/>
            <p:cNvSpPr/>
            <p:nvPr/>
          </p:nvSpPr>
          <p:spPr>
            <a:xfrm>
              <a:off x="9490501" y="2643773"/>
              <a:ext cx="415499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kumimoji="1" lang="ko-KR" altLang="en-US" sz="900" dirty="0" smtClean="0">
                  <a:solidFill>
                    <a:prstClr val="black"/>
                  </a:solidFill>
                  <a:cs typeface="Arial"/>
                </a:rPr>
                <a:t>보빈</a:t>
              </a:r>
              <a:endParaRPr kumimoji="1" lang="ko-KR" altLang="en-US" sz="900" dirty="0">
                <a:solidFill>
                  <a:prstClr val="black"/>
                </a:solidFill>
                <a:cs typeface="Arial"/>
              </a:endParaRPr>
            </a:p>
          </p:txBody>
        </p:sp>
        <p:pic>
          <p:nvPicPr>
            <p:cNvPr id="110" name="Picture 5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514479" y="2027156"/>
              <a:ext cx="222378" cy="220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그룹 5"/>
            <p:cNvGrpSpPr/>
            <p:nvPr/>
          </p:nvGrpSpPr>
          <p:grpSpPr>
            <a:xfrm>
              <a:off x="5091954" y="2350199"/>
              <a:ext cx="4392706" cy="361064"/>
              <a:chOff x="5020079" y="2131124"/>
              <a:chExt cx="3986489" cy="276395"/>
            </a:xfrm>
          </p:grpSpPr>
          <p:sp>
            <p:nvSpPr>
              <p:cNvPr id="121" name="AutoShape 120"/>
              <p:cNvSpPr>
                <a:spLocks noChangeArrowheads="1"/>
              </p:cNvSpPr>
              <p:nvPr/>
            </p:nvSpPr>
            <p:spPr bwMode="gray">
              <a:xfrm>
                <a:off x="5020079" y="2131124"/>
                <a:ext cx="596057" cy="276395"/>
              </a:xfrm>
              <a:prstGeom prst="chevron">
                <a:avLst>
                  <a:gd name="adj" fmla="val 31331"/>
                </a:avLst>
              </a:prstGeom>
              <a:gradFill rotWithShape="0">
                <a:gsLst>
                  <a:gs pos="0">
                    <a:srgbClr val="C0C0C0"/>
                  </a:gs>
                  <a:gs pos="50000">
                    <a:srgbClr val="F6F6F6"/>
                  </a:gs>
                  <a:gs pos="100000">
                    <a:srgbClr val="C0C0C0"/>
                  </a:gs>
                </a:gsLst>
                <a:lin ang="5400000" scaled="1"/>
              </a:gra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28398" dir="3806097" algn="ctr" rotWithShape="0">
                  <a:srgbClr val="000000"/>
                </a:outerShdw>
              </a:effectLst>
            </p:spPr>
            <p:txBody>
              <a:bodyPr lIns="0" tIns="0" rIns="0" bIns="0" anchor="ctr"/>
              <a:lstStyle/>
              <a:p>
                <a:pPr algn="ctr" latinLnBrk="0">
                  <a:spcBef>
                    <a:spcPts val="400"/>
                  </a:spcBef>
                </a:pPr>
                <a:r>
                  <a:rPr lang="ko-KR" altLang="en-US" sz="800" b="1" kern="0" dirty="0" err="1" smtClean="0">
                    <a:solidFill>
                      <a:srgbClr val="000000"/>
                    </a:solidFill>
                    <a:latin typeface="맑은 고딕"/>
                    <a:cs typeface="Arial"/>
                  </a:rPr>
                  <a:t>ㅇㅇㅇ</a:t>
                </a:r>
                <a:endParaRPr lang="en-US" altLang="ko-KR" sz="700" kern="0" dirty="0">
                  <a:solidFill>
                    <a:srgbClr val="000000"/>
                  </a:solidFill>
                  <a:latin typeface="맑은 고딕"/>
                  <a:cs typeface="Arial"/>
                </a:endParaRPr>
              </a:p>
            </p:txBody>
          </p:sp>
          <p:sp>
            <p:nvSpPr>
              <p:cNvPr id="122" name="AutoShape 120"/>
              <p:cNvSpPr>
                <a:spLocks noChangeArrowheads="1"/>
              </p:cNvSpPr>
              <p:nvPr/>
            </p:nvSpPr>
            <p:spPr bwMode="gray">
              <a:xfrm>
                <a:off x="5566575" y="2131124"/>
                <a:ext cx="898059" cy="276395"/>
              </a:xfrm>
              <a:prstGeom prst="chevron">
                <a:avLst>
                  <a:gd name="adj" fmla="val 31331"/>
                </a:avLst>
              </a:prstGeom>
              <a:gradFill rotWithShape="0">
                <a:gsLst>
                  <a:gs pos="0">
                    <a:srgbClr val="C0C0C0"/>
                  </a:gs>
                  <a:gs pos="50000">
                    <a:srgbClr val="F6F6F6"/>
                  </a:gs>
                  <a:gs pos="100000">
                    <a:srgbClr val="C0C0C0"/>
                  </a:gs>
                </a:gsLst>
                <a:lin ang="5400000" scaled="1"/>
              </a:gra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28398" dir="3806097" algn="ctr" rotWithShape="0">
                  <a:srgbClr val="000000"/>
                </a:outerShdw>
              </a:effectLst>
            </p:spPr>
            <p:txBody>
              <a:bodyPr lIns="0" tIns="0" rIns="0" bIns="0" anchor="ctr"/>
              <a:lstStyle/>
              <a:p>
                <a:pPr algn="ctr" latinLnBrk="0">
                  <a:spcBef>
                    <a:spcPts val="400"/>
                  </a:spcBef>
                </a:pPr>
                <a:r>
                  <a:rPr lang="ko-KR" altLang="en-US" sz="800" b="1" kern="0" dirty="0" err="1" smtClean="0">
                    <a:solidFill>
                      <a:srgbClr val="000000"/>
                    </a:solidFill>
                    <a:latin typeface="맑은 고딕"/>
                    <a:cs typeface="Arial"/>
                  </a:rPr>
                  <a:t>ㅇㅇㅇㅇ</a:t>
                </a:r>
                <a:endParaRPr lang="en-US" altLang="ko-KR" sz="700" kern="0" dirty="0">
                  <a:solidFill>
                    <a:srgbClr val="000000"/>
                  </a:solidFill>
                  <a:latin typeface="맑은 고딕"/>
                  <a:cs typeface="Arial"/>
                </a:endParaRPr>
              </a:p>
            </p:txBody>
          </p:sp>
          <p:sp>
            <p:nvSpPr>
              <p:cNvPr id="123" name="AutoShape 120"/>
              <p:cNvSpPr>
                <a:spLocks noChangeArrowheads="1"/>
              </p:cNvSpPr>
              <p:nvPr/>
            </p:nvSpPr>
            <p:spPr bwMode="gray">
              <a:xfrm>
                <a:off x="6415073" y="2131124"/>
                <a:ext cx="744862" cy="276395"/>
              </a:xfrm>
              <a:prstGeom prst="chevron">
                <a:avLst>
                  <a:gd name="adj" fmla="val 31331"/>
                </a:avLst>
              </a:prstGeom>
              <a:gradFill rotWithShape="0">
                <a:gsLst>
                  <a:gs pos="0">
                    <a:srgbClr val="C0C0C0"/>
                  </a:gs>
                  <a:gs pos="50000">
                    <a:srgbClr val="F6F6F6"/>
                  </a:gs>
                  <a:gs pos="100000">
                    <a:srgbClr val="C0C0C0"/>
                  </a:gs>
                </a:gsLst>
                <a:lin ang="5400000" scaled="1"/>
              </a:gra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28398" dir="3806097" algn="ctr" rotWithShape="0">
                  <a:srgbClr val="000000"/>
                </a:outerShdw>
              </a:effectLst>
            </p:spPr>
            <p:txBody>
              <a:bodyPr lIns="0" tIns="0" rIns="0" bIns="0" anchor="ctr"/>
              <a:lstStyle/>
              <a:p>
                <a:pPr algn="ctr" latinLnBrk="0">
                  <a:spcBef>
                    <a:spcPts val="400"/>
                  </a:spcBef>
                </a:pPr>
                <a:r>
                  <a:rPr lang="ko-KR" altLang="en-US" sz="800" b="1" kern="0" dirty="0" err="1" smtClean="0">
                    <a:solidFill>
                      <a:srgbClr val="000000"/>
                    </a:solidFill>
                    <a:latin typeface="맑은 고딕"/>
                    <a:cs typeface="Arial"/>
                  </a:rPr>
                  <a:t>ㅇㅇ</a:t>
                </a:r>
                <a:endParaRPr lang="en-US" altLang="ko-KR" sz="700" kern="0" dirty="0">
                  <a:solidFill>
                    <a:srgbClr val="000000"/>
                  </a:solidFill>
                  <a:latin typeface="맑은 고딕"/>
                  <a:cs typeface="Arial"/>
                </a:endParaRPr>
              </a:p>
            </p:txBody>
          </p:sp>
          <p:sp>
            <p:nvSpPr>
              <p:cNvPr id="124" name="AutoShape 120"/>
              <p:cNvSpPr>
                <a:spLocks noChangeArrowheads="1"/>
              </p:cNvSpPr>
              <p:nvPr/>
            </p:nvSpPr>
            <p:spPr bwMode="gray">
              <a:xfrm>
                <a:off x="7110374" y="2131124"/>
                <a:ext cx="744862" cy="276395"/>
              </a:xfrm>
              <a:prstGeom prst="chevron">
                <a:avLst>
                  <a:gd name="adj" fmla="val 31331"/>
                </a:avLst>
              </a:prstGeom>
              <a:gradFill rotWithShape="0">
                <a:gsLst>
                  <a:gs pos="0">
                    <a:srgbClr val="C0C0C0"/>
                  </a:gs>
                  <a:gs pos="50000">
                    <a:srgbClr val="F6F6F6"/>
                  </a:gs>
                  <a:gs pos="100000">
                    <a:srgbClr val="C0C0C0"/>
                  </a:gs>
                </a:gsLst>
                <a:lin ang="5400000" scaled="1"/>
              </a:gra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28398" dir="3806097" algn="ctr" rotWithShape="0">
                  <a:srgbClr val="000000"/>
                </a:outerShdw>
              </a:effectLst>
            </p:spPr>
            <p:txBody>
              <a:bodyPr lIns="0" tIns="0" rIns="0" bIns="0" anchor="ctr"/>
              <a:lstStyle/>
              <a:p>
                <a:pPr algn="ctr" latinLnBrk="0">
                  <a:spcBef>
                    <a:spcPts val="400"/>
                  </a:spcBef>
                </a:pPr>
                <a:r>
                  <a:rPr lang="ko-KR" altLang="en-US" sz="800" b="1" kern="0" dirty="0" err="1" smtClean="0">
                    <a:solidFill>
                      <a:srgbClr val="000000"/>
                    </a:solidFill>
                    <a:latin typeface="맑은 고딕"/>
                    <a:cs typeface="Arial"/>
                  </a:rPr>
                  <a:t>ㅇㅇ</a:t>
                </a:r>
                <a:endParaRPr lang="en-US" altLang="ko-KR" sz="700" kern="0" dirty="0">
                  <a:solidFill>
                    <a:srgbClr val="000000"/>
                  </a:solidFill>
                  <a:latin typeface="맑은 고딕"/>
                  <a:cs typeface="Arial"/>
                </a:endParaRPr>
              </a:p>
            </p:txBody>
          </p:sp>
          <p:sp>
            <p:nvSpPr>
              <p:cNvPr id="125" name="AutoShape 120"/>
              <p:cNvSpPr>
                <a:spLocks noChangeArrowheads="1"/>
              </p:cNvSpPr>
              <p:nvPr/>
            </p:nvSpPr>
            <p:spPr bwMode="gray">
              <a:xfrm>
                <a:off x="7805675" y="2131124"/>
                <a:ext cx="615130" cy="276395"/>
              </a:xfrm>
              <a:prstGeom prst="chevron">
                <a:avLst>
                  <a:gd name="adj" fmla="val 31331"/>
                </a:avLst>
              </a:prstGeom>
              <a:gradFill rotWithShape="0">
                <a:gsLst>
                  <a:gs pos="0">
                    <a:srgbClr val="C0C0C0"/>
                  </a:gs>
                  <a:gs pos="50000">
                    <a:srgbClr val="F6F6F6"/>
                  </a:gs>
                  <a:gs pos="100000">
                    <a:srgbClr val="C0C0C0"/>
                  </a:gs>
                </a:gsLst>
                <a:lin ang="5400000" scaled="1"/>
              </a:gra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28398" dir="3806097" algn="ctr" rotWithShape="0">
                  <a:srgbClr val="000000"/>
                </a:outerShdw>
              </a:effectLst>
            </p:spPr>
            <p:txBody>
              <a:bodyPr lIns="0" tIns="0" rIns="0" bIns="0" anchor="ctr"/>
              <a:lstStyle/>
              <a:p>
                <a:pPr algn="ctr" latinLnBrk="0">
                  <a:spcBef>
                    <a:spcPts val="400"/>
                  </a:spcBef>
                </a:pPr>
                <a:r>
                  <a:rPr lang="ko-KR" altLang="en-US" sz="700" b="1" kern="0" dirty="0" err="1" smtClean="0">
                    <a:solidFill>
                      <a:srgbClr val="000000"/>
                    </a:solidFill>
                    <a:latin typeface="맑은 고딕"/>
                    <a:cs typeface="Arial"/>
                  </a:rPr>
                  <a:t>ㅇㅇ</a:t>
                </a:r>
                <a:endParaRPr lang="en-US" altLang="ko-KR" sz="700" b="1" kern="0" dirty="0">
                  <a:solidFill>
                    <a:srgbClr val="000000"/>
                  </a:solidFill>
                  <a:latin typeface="맑은 고딕"/>
                  <a:cs typeface="Arial"/>
                </a:endParaRPr>
              </a:p>
            </p:txBody>
          </p:sp>
          <p:sp>
            <p:nvSpPr>
              <p:cNvPr id="126" name="AutoShape 120"/>
              <p:cNvSpPr>
                <a:spLocks noChangeArrowheads="1"/>
              </p:cNvSpPr>
              <p:nvPr/>
            </p:nvSpPr>
            <p:spPr bwMode="gray">
              <a:xfrm>
                <a:off x="8371245" y="2131124"/>
                <a:ext cx="635323" cy="276395"/>
              </a:xfrm>
              <a:prstGeom prst="chevron">
                <a:avLst>
                  <a:gd name="adj" fmla="val 31331"/>
                </a:avLst>
              </a:prstGeom>
              <a:gradFill rotWithShape="0">
                <a:gsLst>
                  <a:gs pos="0">
                    <a:srgbClr val="C0C0C0"/>
                  </a:gs>
                  <a:gs pos="50000">
                    <a:srgbClr val="F6F6F6"/>
                  </a:gs>
                  <a:gs pos="100000">
                    <a:srgbClr val="C0C0C0"/>
                  </a:gs>
                </a:gsLst>
                <a:lin ang="5400000" scaled="1"/>
              </a:gradFill>
              <a:ln w="9525" algn="ctr">
                <a:solidFill>
                  <a:srgbClr val="000000"/>
                </a:solidFill>
                <a:miter lim="800000"/>
                <a:headEnd/>
                <a:tailEnd/>
              </a:ln>
              <a:effectLst>
                <a:outerShdw dist="28398" dir="3806097" algn="ctr" rotWithShape="0">
                  <a:srgbClr val="000000"/>
                </a:outerShdw>
              </a:effectLst>
            </p:spPr>
            <p:txBody>
              <a:bodyPr lIns="0" tIns="0" rIns="0" bIns="0" anchor="ctr"/>
              <a:lstStyle/>
              <a:p>
                <a:pPr algn="ctr" latinLnBrk="0">
                  <a:spcBef>
                    <a:spcPts val="400"/>
                  </a:spcBef>
                </a:pPr>
                <a:r>
                  <a:rPr lang="ko-KR" altLang="en-US" sz="700" b="1" kern="0" dirty="0" err="1" smtClean="0">
                    <a:solidFill>
                      <a:srgbClr val="000000"/>
                    </a:solidFill>
                    <a:latin typeface="맑은 고딕"/>
                    <a:cs typeface="Arial"/>
                  </a:rPr>
                  <a:t>ㅇㅇ</a:t>
                </a:r>
                <a:endParaRPr lang="en-US" altLang="ko-KR" sz="700" b="1" kern="0" dirty="0">
                  <a:solidFill>
                    <a:srgbClr val="000000"/>
                  </a:solidFill>
                  <a:latin typeface="맑은 고딕"/>
                  <a:cs typeface="Arial"/>
                </a:endParaRPr>
              </a:p>
            </p:txBody>
          </p:sp>
        </p:grpSp>
      </p:grpSp>
      <p:sp>
        <p:nvSpPr>
          <p:cNvPr id="130" name="TextBox 129"/>
          <p:cNvSpPr txBox="1"/>
          <p:nvPr/>
        </p:nvSpPr>
        <p:spPr>
          <a:xfrm>
            <a:off x="5072799" y="3297712"/>
            <a:ext cx="41881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공정은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~~~~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공정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공정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데이터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온도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전력량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ㅇ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등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라인 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PC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에 기록</a:t>
            </a: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검사 데이터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각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생산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보빈별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검사를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진행하고 엑셀로 기록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5028104" y="4307421"/>
            <a:ext cx="465160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~~~~  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등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원인으로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~~~~~~~~~~~ 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발생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클레임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들어온 제품 생산 공정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품질 데이터 분석 시도 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근본적 원인 규명 한계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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원인 파악 어려움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</a:rPr>
              <a:t>(</a:t>
            </a:r>
            <a:r>
              <a:rPr lang="ko-KR" altLang="en-US" sz="1050" dirty="0">
                <a:solidFill>
                  <a:schemeClr val="bg2">
                    <a:lumMod val="25000"/>
                  </a:schemeClr>
                </a:solidFill>
              </a:rPr>
              <a:t>만성 불량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</a:rPr>
              <a:t>)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676275" y="5581649"/>
            <a:ext cx="8886825" cy="632913"/>
            <a:chOff x="-3685128" y="5321331"/>
            <a:chExt cx="15699328" cy="715432"/>
          </a:xfrm>
        </p:grpSpPr>
        <p:sp>
          <p:nvSpPr>
            <p:cNvPr id="95" name="TextBox 94"/>
            <p:cNvSpPr txBox="1"/>
            <p:nvPr/>
          </p:nvSpPr>
          <p:spPr>
            <a:xfrm>
              <a:off x="-3685128" y="5333055"/>
              <a:ext cx="5158327" cy="703708"/>
            </a:xfrm>
            <a:prstGeom prst="rect">
              <a:avLst/>
            </a:prstGeom>
            <a:solidFill>
              <a:srgbClr val="003366"/>
            </a:solidFill>
            <a:ln w="9525" algn="ctr">
              <a:noFill/>
              <a:miter lim="800000"/>
              <a:headEnd/>
              <a:tailEnd/>
            </a:ln>
          </p:spPr>
          <p:txBody>
            <a:bodyPr anchor="ctr"/>
            <a:lstStyle>
              <a:defPPr>
                <a:defRPr lang="ko-KR"/>
              </a:defPPr>
              <a:lvl1pPr marL="285750" indent="-285750">
                <a:buFont typeface="Arial" panose="020B0604020202020204" pitchFamily="34" charset="0"/>
                <a:buChar char="•"/>
                <a:defRPr sz="14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pPr marL="0" indent="0" algn="ctr">
                <a:buNone/>
              </a:pPr>
              <a:r>
                <a:rPr lang="ko-KR" altLang="en-US" dirty="0" smtClean="0"/>
                <a:t>확보 </a:t>
              </a:r>
              <a:r>
                <a:rPr lang="ko-KR" altLang="en-US" dirty="0"/>
                <a:t>데이터 점검하여</a:t>
              </a:r>
              <a:r>
                <a:rPr lang="en-US" altLang="ko-KR" dirty="0"/>
                <a:t>, </a:t>
              </a:r>
              <a:endParaRPr lang="en-US" altLang="ko-KR" dirty="0" smtClean="0"/>
            </a:p>
            <a:p>
              <a:pPr marL="0" indent="0" algn="ctr">
                <a:buNone/>
              </a:pPr>
              <a:r>
                <a:rPr lang="ko-KR" altLang="en-US" smtClean="0"/>
                <a:t>부족한 </a:t>
              </a:r>
              <a:r>
                <a:rPr lang="ko-KR" altLang="en-US"/>
                <a:t>부분 점검 </a:t>
              </a:r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1594337" y="5327193"/>
              <a:ext cx="5158327" cy="703708"/>
            </a:xfrm>
            <a:prstGeom prst="rect">
              <a:avLst/>
            </a:prstGeom>
            <a:solidFill>
              <a:srgbClr val="003366"/>
            </a:solidFill>
            <a:ln w="9525" algn="ctr">
              <a:noFill/>
              <a:miter lim="800000"/>
              <a:headEnd/>
              <a:tailEnd/>
            </a:ln>
          </p:spPr>
          <p:txBody>
            <a:bodyPr anchor="ctr"/>
            <a:lstStyle>
              <a:defPPr>
                <a:defRPr lang="ko-KR"/>
              </a:defPPr>
              <a:lvl1pPr marL="285750" indent="-285750">
                <a:buFont typeface="Arial" panose="020B0604020202020204" pitchFamily="34" charset="0"/>
                <a:buChar char="•"/>
                <a:defRPr sz="14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pPr marL="0" indent="0" algn="ctr">
                <a:buNone/>
              </a:pPr>
              <a:r>
                <a:rPr lang="ko-KR" altLang="en-US" dirty="0" smtClean="0"/>
                <a:t>각 </a:t>
              </a:r>
              <a:r>
                <a:rPr lang="ko-KR" altLang="en-US" dirty="0"/>
                <a:t>데이터 간의 상관성 </a:t>
              </a:r>
              <a:r>
                <a:rPr lang="ko-KR" altLang="en-US" dirty="0" smtClean="0"/>
                <a:t>분석</a:t>
              </a:r>
              <a:endParaRPr lang="ko-KR" altLang="en-US" dirty="0"/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6855873" y="5321331"/>
              <a:ext cx="5158327" cy="703708"/>
            </a:xfrm>
            <a:prstGeom prst="rect">
              <a:avLst/>
            </a:prstGeom>
            <a:solidFill>
              <a:srgbClr val="003366"/>
            </a:solidFill>
            <a:ln w="9525" algn="ctr">
              <a:noFill/>
              <a:miter lim="800000"/>
              <a:headEnd/>
              <a:tailEnd/>
            </a:ln>
          </p:spPr>
          <p:txBody>
            <a:bodyPr anchor="ctr"/>
            <a:lstStyle>
              <a:defPPr>
                <a:defRPr lang="ko-KR"/>
              </a:defPPr>
              <a:lvl1pPr marL="285750" indent="-285750">
                <a:buFont typeface="Arial" panose="020B0604020202020204" pitchFamily="34" charset="0"/>
                <a:buChar char="•"/>
                <a:defRPr sz="1400" b="1" kern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defRPr>
              </a:lvl1pPr>
            </a:lstStyle>
            <a:p>
              <a:pPr marL="0" indent="0" algn="ctr">
                <a:buNone/>
              </a:pPr>
              <a:r>
                <a:rPr lang="ko-KR" altLang="en-US" dirty="0" err="1" smtClean="0"/>
                <a:t>ㅇㅇ</a:t>
              </a:r>
              <a:r>
                <a:rPr lang="ko-KR" altLang="en-US" dirty="0" smtClean="0"/>
                <a:t> </a:t>
              </a:r>
              <a:r>
                <a:rPr lang="ko-KR" altLang="en-US" dirty="0" smtClean="0"/>
                <a:t>불량 원인 분석 </a:t>
              </a:r>
              <a:endParaRPr lang="ko-KR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0675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/>
        </p:nvSpPr>
        <p:spPr>
          <a:xfrm>
            <a:off x="2294963" y="2767425"/>
            <a:ext cx="59167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4800" b="1" spc="-7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End Of Documents</a:t>
            </a:r>
            <a:endParaRPr lang="ko-KR" altLang="en-US" sz="4800"/>
          </a:p>
        </p:txBody>
      </p:sp>
      <p:sp>
        <p:nvSpPr>
          <p:cNvPr id="2" name="직사각형 1"/>
          <p:cNvSpPr/>
          <p:nvPr/>
        </p:nvSpPr>
        <p:spPr>
          <a:xfrm>
            <a:off x="4519246" y="6479929"/>
            <a:ext cx="914400" cy="351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12531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[</a:t>
            </a:r>
            <a:r>
              <a:rPr lang="ko-KR" altLang="en-US" smtClean="0">
                <a:latin typeface="+mj-ea"/>
              </a:rPr>
              <a:t>참고</a:t>
            </a:r>
            <a:r>
              <a:rPr lang="en-US" altLang="ko-KR" dirty="0" smtClean="0">
                <a:latin typeface="+mj-ea"/>
              </a:rPr>
              <a:t>] </a:t>
            </a:r>
            <a:r>
              <a:rPr lang="ko-KR" altLang="en-US" smtClean="0">
                <a:latin typeface="+mj-ea"/>
              </a:rPr>
              <a:t>데이터 </a:t>
            </a:r>
            <a:r>
              <a:rPr lang="ko-KR" altLang="en-US" dirty="0" smtClean="0">
                <a:latin typeface="+mj-ea"/>
              </a:rPr>
              <a:t>탐색적 </a:t>
            </a:r>
            <a:r>
              <a:rPr lang="ko-KR" altLang="en-US" smtClean="0">
                <a:latin typeface="+mj-ea"/>
              </a:rPr>
              <a:t>분석 </a:t>
            </a:r>
            <a:r>
              <a:rPr lang="en-US" altLang="ko-KR" dirty="0" smtClean="0">
                <a:latin typeface="+mj-ea"/>
              </a:rPr>
              <a:t>- </a:t>
            </a:r>
            <a:r>
              <a:rPr kumimoji="1" lang="ko-KR" altLang="en-US" smtClean="0">
                <a:solidFill>
                  <a:prstClr val="black"/>
                </a:solidFill>
                <a:cs typeface="Arial"/>
              </a:rPr>
              <a:t>기술통계분석</a:t>
            </a:r>
            <a:endParaRPr lang="ko-KR" altLang="en-US">
              <a:latin typeface="+mj-e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32186" y="2230814"/>
            <a:ext cx="2929579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indent="-180975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ko-KR" altLang="en-US" sz="1300" b="1" dirty="0" smtClean="0">
                <a:solidFill>
                  <a:prstClr val="black"/>
                </a:solidFill>
                <a:cs typeface="Arial"/>
              </a:rPr>
              <a:t>기술통계분석</a:t>
            </a:r>
            <a:endParaRPr kumimoji="1" lang="ko-KR" altLang="en-US" sz="1300" b="1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6" name="왼쪽 중괄호 5"/>
          <p:cNvSpPr/>
          <p:nvPr/>
        </p:nvSpPr>
        <p:spPr>
          <a:xfrm rot="16200000">
            <a:off x="4781204" y="-1516676"/>
            <a:ext cx="233083" cy="6188924"/>
          </a:xfrm>
          <a:prstGeom prst="leftBrac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/>
          <p:cNvSpPr/>
          <p:nvPr/>
        </p:nvSpPr>
        <p:spPr>
          <a:xfrm>
            <a:off x="3357506" y="1766192"/>
            <a:ext cx="3463705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ko-KR" altLang="en-US" sz="1300" b="1" dirty="0">
                <a:solidFill>
                  <a:prstClr val="black"/>
                </a:solidFill>
                <a:cs typeface="Arial"/>
              </a:rPr>
              <a:t>데이터 탐색적 </a:t>
            </a:r>
            <a:r>
              <a:rPr kumimoji="1" lang="ko-KR" altLang="en-US" sz="1300" b="1" smtClean="0">
                <a:solidFill>
                  <a:prstClr val="black"/>
                </a:solidFill>
                <a:cs typeface="Arial"/>
              </a:rPr>
              <a:t>분석</a:t>
            </a:r>
            <a:r>
              <a:rPr kumimoji="1" lang="en-US" altLang="ko-KR" sz="1300" b="1" dirty="0" smtClean="0">
                <a:solidFill>
                  <a:prstClr val="black"/>
                </a:solidFill>
                <a:cs typeface="Arial"/>
              </a:rPr>
              <a:t>(Exploratory Data Analysis)</a:t>
            </a:r>
            <a:endParaRPr kumimoji="1" lang="ko-KR" altLang="en-US" sz="1300" b="1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007117" y="2230814"/>
            <a:ext cx="2929579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indent="-180975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ko-KR" altLang="en-US" sz="1300" b="1" dirty="0" smtClean="0">
                <a:solidFill>
                  <a:prstClr val="black"/>
                </a:solidFill>
                <a:cs typeface="Arial"/>
              </a:rPr>
              <a:t>기초통계분석을 통해 알게 되는 사항</a:t>
            </a:r>
            <a:endParaRPr kumimoji="1" lang="ko-KR" altLang="en-US" sz="1300" b="1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189081" y="2810098"/>
            <a:ext cx="48312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②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전체 구간에서 값이 고르게 분포하는지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,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쏠려 있는지 파악 가능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222738" y="839442"/>
            <a:ext cx="9510347" cy="517330"/>
            <a:chOff x="495300" y="839442"/>
            <a:chExt cx="10846605" cy="517330"/>
          </a:xfrm>
        </p:grpSpPr>
        <p:sp>
          <p:nvSpPr>
            <p:cNvPr id="27" name="AutoShape 120"/>
            <p:cNvSpPr>
              <a:spLocks noChangeArrowheads="1"/>
            </p:cNvSpPr>
            <p:nvPr/>
          </p:nvSpPr>
          <p:spPr bwMode="gray">
            <a:xfrm>
              <a:off x="2280660" y="839442"/>
              <a:ext cx="1919804" cy="517330"/>
            </a:xfrm>
            <a:prstGeom prst="chevron">
              <a:avLst>
                <a:gd name="adj" fmla="val 31331"/>
              </a:avLst>
            </a:prstGeom>
            <a:gradFill rotWithShape="0">
              <a:gsLst>
                <a:gs pos="0">
                  <a:schemeClr val="accent4"/>
                </a:gs>
                <a:gs pos="50000">
                  <a:srgbClr val="F6F6F6"/>
                </a:gs>
                <a:gs pos="100000">
                  <a:schemeClr val="accent4"/>
                </a:gs>
              </a:gsLst>
              <a:lin ang="5400000" scaled="1"/>
            </a:gra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28398" dir="3806097" algn="ctr" rotWithShape="0">
                <a:srgbClr val="000000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spcBef>
                  <a:spcPts val="400"/>
                </a:spcBef>
              </a:pPr>
              <a:r>
                <a:rPr lang="ko-KR" altLang="en-US" sz="1050" b="1" kern="0" dirty="0">
                  <a:solidFill>
                    <a:srgbClr val="000000"/>
                  </a:solidFill>
                  <a:latin typeface="+mn-ea"/>
                  <a:cs typeface="Arial"/>
                </a:rPr>
                <a:t>기초통계분석</a:t>
              </a:r>
              <a:endParaRPr lang="en-US" altLang="ko-KR" sz="1050" b="1" kern="0" dirty="0">
                <a:solidFill>
                  <a:srgbClr val="000000"/>
                </a:solidFill>
                <a:latin typeface="+mn-ea"/>
                <a:cs typeface="Arial"/>
              </a:endParaRPr>
            </a:p>
          </p:txBody>
        </p:sp>
        <p:sp>
          <p:nvSpPr>
            <p:cNvPr id="28" name="AutoShape 120"/>
            <p:cNvSpPr>
              <a:spLocks noChangeArrowheads="1"/>
            </p:cNvSpPr>
            <p:nvPr/>
          </p:nvSpPr>
          <p:spPr bwMode="gray">
            <a:xfrm>
              <a:off x="4066020" y="839442"/>
              <a:ext cx="1919804" cy="517330"/>
            </a:xfrm>
            <a:prstGeom prst="chevron">
              <a:avLst>
                <a:gd name="adj" fmla="val 31331"/>
              </a:avLst>
            </a:prstGeom>
            <a:gradFill rotWithShape="0">
              <a:gsLst>
                <a:gs pos="0">
                  <a:srgbClr val="C0C0C0"/>
                </a:gs>
                <a:gs pos="50000">
                  <a:srgbClr val="F6F6F6"/>
                </a:gs>
                <a:gs pos="100000">
                  <a:srgbClr val="C0C0C0"/>
                </a:gs>
              </a:gsLst>
              <a:lin ang="5400000" scaled="1"/>
            </a:gra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28398" dir="3806097" algn="ctr" rotWithShape="0">
                <a:srgbClr val="000000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spcBef>
                  <a:spcPts val="400"/>
                </a:spcBef>
              </a:pPr>
              <a:r>
                <a:rPr lang="en-US" altLang="ko-KR" sz="1050" b="1" kern="0" dirty="0">
                  <a:solidFill>
                    <a:srgbClr val="000000"/>
                  </a:solidFill>
                  <a:latin typeface="맑은 고딕"/>
                  <a:cs typeface="Arial"/>
                </a:rPr>
                <a:t>X</a:t>
              </a:r>
              <a:r>
                <a:rPr lang="ko-KR" altLang="en-US" sz="1050" b="1" kern="0">
                  <a:solidFill>
                    <a:srgbClr val="000000"/>
                  </a:solidFill>
                  <a:latin typeface="맑은 고딕"/>
                  <a:cs typeface="Arial"/>
                </a:rPr>
                <a:t>인자간의 상관 분석</a:t>
              </a:r>
              <a:endParaRPr lang="en-US" altLang="ko-KR" sz="1050" b="1" kern="0" dirty="0">
                <a:solidFill>
                  <a:srgbClr val="000000"/>
                </a:solidFill>
                <a:latin typeface="맑은 고딕"/>
                <a:cs typeface="Arial"/>
              </a:endParaRPr>
            </a:p>
          </p:txBody>
        </p:sp>
        <p:sp>
          <p:nvSpPr>
            <p:cNvPr id="29" name="AutoShape 120"/>
            <p:cNvSpPr>
              <a:spLocks noChangeArrowheads="1"/>
            </p:cNvSpPr>
            <p:nvPr/>
          </p:nvSpPr>
          <p:spPr bwMode="gray">
            <a:xfrm>
              <a:off x="5851380" y="839442"/>
              <a:ext cx="1919804" cy="517330"/>
            </a:xfrm>
            <a:prstGeom prst="chevron">
              <a:avLst>
                <a:gd name="adj" fmla="val 31331"/>
              </a:avLst>
            </a:prstGeom>
            <a:gradFill rotWithShape="0">
              <a:gsLst>
                <a:gs pos="0">
                  <a:srgbClr val="C0C0C0"/>
                </a:gs>
                <a:gs pos="50000">
                  <a:srgbClr val="F6F6F6"/>
                </a:gs>
                <a:gs pos="100000">
                  <a:srgbClr val="C0C0C0"/>
                </a:gs>
              </a:gsLst>
              <a:lin ang="5400000" scaled="1"/>
            </a:gra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28398" dir="3806097" algn="ctr" rotWithShape="0">
                <a:srgbClr val="000000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spcBef>
                  <a:spcPts val="400"/>
                </a:spcBef>
              </a:pPr>
              <a:r>
                <a:rPr lang="ko-KR" altLang="en-US" sz="1000" b="1" kern="0" dirty="0" err="1" smtClean="0">
                  <a:solidFill>
                    <a:srgbClr val="000000"/>
                  </a:solidFill>
                  <a:latin typeface="맑은 고딕"/>
                  <a:cs typeface="Arial"/>
                </a:rPr>
                <a:t>시계열</a:t>
              </a:r>
              <a:r>
                <a:rPr lang="ko-KR" altLang="en-US" sz="1000" b="1" kern="0" dirty="0" smtClean="0">
                  <a:solidFill>
                    <a:srgbClr val="000000"/>
                  </a:solidFill>
                  <a:latin typeface="맑은 고딕"/>
                  <a:cs typeface="Arial"/>
                </a:rPr>
                <a:t> 분석</a:t>
              </a:r>
              <a:endParaRPr lang="en-US" altLang="ko-KR" sz="1000" b="1" kern="0" dirty="0">
                <a:solidFill>
                  <a:srgbClr val="000000"/>
                </a:solidFill>
                <a:latin typeface="맑은 고딕"/>
                <a:cs typeface="Arial"/>
              </a:endParaRPr>
            </a:p>
          </p:txBody>
        </p:sp>
        <p:sp>
          <p:nvSpPr>
            <p:cNvPr id="32" name="AutoShape 120"/>
            <p:cNvSpPr>
              <a:spLocks noChangeArrowheads="1"/>
            </p:cNvSpPr>
            <p:nvPr/>
          </p:nvSpPr>
          <p:spPr bwMode="gray">
            <a:xfrm>
              <a:off x="495300" y="839442"/>
              <a:ext cx="1919804" cy="517330"/>
            </a:xfrm>
            <a:prstGeom prst="chevron">
              <a:avLst>
                <a:gd name="adj" fmla="val 31331"/>
              </a:avLst>
            </a:prstGeom>
            <a:gradFill rotWithShape="0">
              <a:gsLst>
                <a:gs pos="0">
                  <a:srgbClr val="C0C0C0"/>
                </a:gs>
                <a:gs pos="50000">
                  <a:srgbClr val="F6F6F6"/>
                </a:gs>
                <a:gs pos="100000">
                  <a:srgbClr val="C0C0C0"/>
                </a:gs>
              </a:gsLst>
              <a:lin ang="5400000" scaled="1"/>
            </a:gradFill>
            <a:ln w="9525" algn="ctr">
              <a:solidFill>
                <a:srgbClr val="000000"/>
              </a:solidFill>
              <a:prstDash val="lgDash"/>
              <a:miter lim="800000"/>
              <a:headEnd/>
              <a:tailEnd/>
            </a:ln>
            <a:effectLst>
              <a:outerShdw dist="28398" dir="3806097" algn="ctr" rotWithShape="0">
                <a:srgbClr val="000000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spcBef>
                  <a:spcPts val="400"/>
                </a:spcBef>
                <a:defRPr/>
              </a:pPr>
              <a:r>
                <a:rPr lang="ko-KR" altLang="en-US" sz="1050" b="1" kern="0" dirty="0" smtClean="0">
                  <a:solidFill>
                    <a:srgbClr val="000000"/>
                  </a:solidFill>
                  <a:latin typeface="맑은 고딕"/>
                  <a:cs typeface="Arial"/>
                </a:rPr>
                <a:t>데이터 </a:t>
              </a:r>
              <a:r>
                <a:rPr lang="ko-KR" altLang="en-US" sz="1050" b="1" kern="0" dirty="0" err="1" smtClean="0">
                  <a:solidFill>
                    <a:srgbClr val="000000"/>
                  </a:solidFill>
                  <a:latin typeface="맑은 고딕"/>
                  <a:cs typeface="Arial"/>
                </a:rPr>
                <a:t>마트</a:t>
              </a:r>
              <a:r>
                <a:rPr lang="ko-KR" altLang="en-US" sz="1050" b="1" kern="0" dirty="0" smtClean="0">
                  <a:solidFill>
                    <a:srgbClr val="000000"/>
                  </a:solidFill>
                  <a:latin typeface="맑은 고딕"/>
                  <a:cs typeface="Arial"/>
                </a:rPr>
                <a:t> 구축</a:t>
              </a:r>
              <a:endParaRPr lang="en-US" altLang="ko-KR" sz="1050" b="1" kern="0" dirty="0" smtClean="0">
                <a:solidFill>
                  <a:srgbClr val="000000"/>
                </a:solidFill>
                <a:latin typeface="맑은 고딕"/>
                <a:cs typeface="Arial"/>
              </a:endParaRPr>
            </a:p>
          </p:txBody>
        </p:sp>
        <p:sp>
          <p:nvSpPr>
            <p:cNvPr id="34" name="AutoShape 120"/>
            <p:cNvSpPr>
              <a:spLocks noChangeArrowheads="1"/>
            </p:cNvSpPr>
            <p:nvPr/>
          </p:nvSpPr>
          <p:spPr bwMode="gray">
            <a:xfrm>
              <a:off x="9422101" y="839442"/>
              <a:ext cx="1919804" cy="517330"/>
            </a:xfrm>
            <a:prstGeom prst="chevron">
              <a:avLst>
                <a:gd name="adj" fmla="val 31331"/>
              </a:avLst>
            </a:prstGeom>
            <a:gradFill rotWithShape="0">
              <a:gsLst>
                <a:gs pos="0">
                  <a:srgbClr val="C0C0C0"/>
                </a:gs>
                <a:gs pos="50000">
                  <a:srgbClr val="F6F6F6"/>
                </a:gs>
                <a:gs pos="100000">
                  <a:srgbClr val="C0C0C0"/>
                </a:gs>
              </a:gsLst>
              <a:lin ang="5400000" scaled="1"/>
            </a:gradFill>
            <a:ln w="9525" algn="ctr">
              <a:solidFill>
                <a:srgbClr val="000000"/>
              </a:solidFill>
              <a:prstDash val="lgDash"/>
              <a:miter lim="800000"/>
              <a:headEnd/>
              <a:tailEnd/>
            </a:ln>
            <a:effectLst>
              <a:outerShdw dist="28398" dir="3806097" algn="ctr" rotWithShape="0">
                <a:srgbClr val="000000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spcBef>
                  <a:spcPts val="400"/>
                </a:spcBef>
              </a:pPr>
              <a:r>
                <a:rPr lang="ko-KR" altLang="en-US" sz="1050" b="1" kern="0" dirty="0">
                  <a:solidFill>
                    <a:srgbClr val="000000"/>
                  </a:solidFill>
                  <a:latin typeface="맑은 고딕"/>
                  <a:cs typeface="Arial"/>
                </a:rPr>
                <a:t>예측 모델 개발</a:t>
              </a:r>
              <a:endParaRPr lang="en-US" altLang="ko-KR" sz="1050" b="1" kern="0" dirty="0">
                <a:solidFill>
                  <a:srgbClr val="000000"/>
                </a:solidFill>
                <a:latin typeface="맑은 고딕"/>
                <a:cs typeface="Arial"/>
              </a:endParaRPr>
            </a:p>
          </p:txBody>
        </p:sp>
        <p:sp>
          <p:nvSpPr>
            <p:cNvPr id="20" name="AutoShape 120"/>
            <p:cNvSpPr>
              <a:spLocks noChangeArrowheads="1"/>
            </p:cNvSpPr>
            <p:nvPr/>
          </p:nvSpPr>
          <p:spPr bwMode="gray">
            <a:xfrm>
              <a:off x="7636740" y="839442"/>
              <a:ext cx="1919804" cy="517330"/>
            </a:xfrm>
            <a:prstGeom prst="chevron">
              <a:avLst>
                <a:gd name="adj" fmla="val 31331"/>
              </a:avLst>
            </a:prstGeom>
            <a:gradFill rotWithShape="0">
              <a:gsLst>
                <a:gs pos="0">
                  <a:srgbClr val="C0C0C0"/>
                </a:gs>
                <a:gs pos="50000">
                  <a:srgbClr val="F6F6F6"/>
                </a:gs>
                <a:gs pos="100000">
                  <a:srgbClr val="C0C0C0"/>
                </a:gs>
              </a:gsLst>
              <a:lin ang="5400000" scaled="1"/>
            </a:gra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28398" dir="3806097" algn="ctr" rotWithShape="0">
                <a:srgbClr val="000000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spcBef>
                  <a:spcPts val="400"/>
                </a:spcBef>
              </a:pPr>
              <a:r>
                <a:rPr lang="en-US" altLang="ko-KR" sz="1050" b="1" kern="0" dirty="0" smtClean="0">
                  <a:solidFill>
                    <a:srgbClr val="000000"/>
                  </a:solidFill>
                  <a:latin typeface="맑은 고딕"/>
                  <a:cs typeface="Arial"/>
                </a:rPr>
                <a:t>X</a:t>
              </a:r>
              <a:r>
                <a:rPr lang="ko-KR" altLang="en-US" sz="1050" b="1" kern="0" smtClean="0">
                  <a:solidFill>
                    <a:srgbClr val="000000"/>
                  </a:solidFill>
                  <a:latin typeface="맑은 고딕"/>
                  <a:cs typeface="Arial"/>
                </a:rPr>
                <a:t>인자와 </a:t>
              </a:r>
              <a:r>
                <a:rPr lang="en-US" altLang="ko-KR" sz="1050" b="1" kern="0" dirty="0" smtClean="0">
                  <a:solidFill>
                    <a:srgbClr val="000000"/>
                  </a:solidFill>
                  <a:latin typeface="맑은 고딕"/>
                  <a:cs typeface="Arial"/>
                </a:rPr>
                <a:t>Y</a:t>
              </a:r>
              <a:r>
                <a:rPr lang="ko-KR" altLang="en-US" sz="1050" b="1" kern="0" smtClean="0">
                  <a:solidFill>
                    <a:srgbClr val="000000"/>
                  </a:solidFill>
                  <a:latin typeface="맑은 고딕"/>
                  <a:cs typeface="Arial"/>
                </a:rPr>
                <a:t>인자간의 </a:t>
              </a:r>
              <a:endParaRPr lang="en-US" altLang="ko-KR" sz="1050" b="1" kern="0" dirty="0" smtClean="0">
                <a:solidFill>
                  <a:srgbClr val="000000"/>
                </a:solidFill>
                <a:latin typeface="맑은 고딕"/>
                <a:cs typeface="Arial"/>
              </a:endParaRPr>
            </a:p>
            <a:p>
              <a:pPr algn="ctr" latinLnBrk="0">
                <a:spcBef>
                  <a:spcPts val="400"/>
                </a:spcBef>
              </a:pPr>
              <a:r>
                <a:rPr lang="ko-KR" altLang="en-US" sz="1050" b="1" kern="0" dirty="0" smtClean="0">
                  <a:solidFill>
                    <a:srgbClr val="000000"/>
                  </a:solidFill>
                  <a:latin typeface="맑은 고딕"/>
                  <a:cs typeface="Arial"/>
                </a:rPr>
                <a:t>상관 분석</a:t>
              </a:r>
              <a:endParaRPr lang="en-US" altLang="ko-KR" sz="1050" kern="0" dirty="0" smtClean="0">
                <a:solidFill>
                  <a:srgbClr val="000000"/>
                </a:solidFill>
                <a:latin typeface="맑은 고딕"/>
                <a:cs typeface="Arial"/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432186" y="2522988"/>
            <a:ext cx="42976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/>
              <a:t>방대한 </a:t>
            </a:r>
            <a:r>
              <a:rPr lang="ko-KR" altLang="en-US" sz="1200" dirty="0" smtClean="0"/>
              <a:t>자료를 분석하기에 앞서</a:t>
            </a:r>
            <a:r>
              <a:rPr lang="en-US" altLang="ko-KR" sz="1200" dirty="0" smtClean="0"/>
              <a:t>, </a:t>
            </a:r>
            <a:r>
              <a:rPr lang="ko-KR" altLang="en-US" sz="1200" smtClean="0"/>
              <a:t>평균 등 전체 데이터 특성을 몇 개의 숫자나 그래프로 정리 </a:t>
            </a:r>
            <a:r>
              <a:rPr lang="ko-KR" altLang="en-US" sz="1200" dirty="0" smtClean="0"/>
              <a:t>및 요약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/>
          </p:nvPr>
        </p:nvGraphicFramePr>
        <p:xfrm>
          <a:off x="518984" y="4807678"/>
          <a:ext cx="4210837" cy="1412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9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728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3135"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ko-KR" altLang="en-US" sz="1050" b="1" kern="12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개수</a:t>
                      </a:r>
                      <a:endParaRPr lang="ko-KR" altLang="en-US" sz="1050" b="1" kern="12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데이터 개수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유일한 값 개수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결측치 개수</a:t>
                      </a: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3135"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ko-KR" altLang="en-US" sz="1050" b="1" kern="12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집중화 경향</a:t>
                      </a:r>
                      <a:endParaRPr lang="ko-KR" altLang="en-US" sz="1050" b="1" kern="12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평균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중앙값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최빈값</a:t>
                      </a: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3135"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ko-KR" altLang="en-US" sz="1050" b="1" kern="12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산포도</a:t>
                      </a:r>
                      <a:endParaRPr lang="ko-KR" altLang="en-US" sz="1050" b="1" kern="12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최댓값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최솟값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범위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사분위수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표준편차</a:t>
                      </a: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3135"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ko-KR" altLang="en-US" sz="1050" b="1" kern="12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분포의 형태</a:t>
                      </a:r>
                      <a:endParaRPr lang="ko-KR" altLang="en-US" sz="1050" b="1" kern="120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첨도</a:t>
                      </a:r>
                      <a:r>
                        <a:rPr lang="en-US" altLang="ko-KR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00" b="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왜도</a:t>
                      </a: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8" name="직사각형 7"/>
          <p:cNvSpPr/>
          <p:nvPr/>
        </p:nvSpPr>
        <p:spPr>
          <a:xfrm>
            <a:off x="432185" y="3521837"/>
            <a:ext cx="429763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lnSpc>
                <a:spcPct val="150000"/>
              </a:lnSpc>
              <a:buFont typeface="+mj-ea"/>
              <a:buAutoNum type="circleNumDbPlain"/>
            </a:pPr>
            <a:r>
              <a:rPr lang="ko-KR" altLang="en-US" sz="1200" b="1" dirty="0">
                <a:solidFill>
                  <a:schemeClr val="bg2">
                    <a:lumMod val="25000"/>
                  </a:schemeClr>
                </a:solidFill>
              </a:rPr>
              <a:t>개수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ko-KR" altLang="en-US" sz="1200">
                <a:solidFill>
                  <a:schemeClr val="bg2">
                    <a:lumMod val="25000"/>
                  </a:schemeClr>
                </a:solidFill>
              </a:rPr>
              <a:t>데이터의 개수는 어떠한가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? </a:t>
            </a:r>
          </a:p>
          <a:p>
            <a:pPr marL="228600" indent="-228600">
              <a:lnSpc>
                <a:spcPct val="150000"/>
              </a:lnSpc>
              <a:buFont typeface="+mj-ea"/>
              <a:buAutoNum type="circleNumDbPlain"/>
            </a:pPr>
            <a:r>
              <a:rPr lang="ko-KR" altLang="en-US" sz="1200" b="1" dirty="0">
                <a:solidFill>
                  <a:schemeClr val="bg2">
                    <a:lumMod val="25000"/>
                  </a:schemeClr>
                </a:solidFill>
              </a:rPr>
              <a:t>집중화 경향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ko-KR" altLang="en-US" sz="1200">
                <a:solidFill>
                  <a:schemeClr val="bg2">
                    <a:lumMod val="25000"/>
                  </a:schemeClr>
                </a:solidFill>
              </a:rPr>
              <a:t>데이터가 어느 위치에 집중되어 있는가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?</a:t>
            </a:r>
          </a:p>
          <a:p>
            <a:pPr marL="228600" indent="-228600">
              <a:lnSpc>
                <a:spcPct val="150000"/>
              </a:lnSpc>
              <a:buFont typeface="+mj-ea"/>
              <a:buAutoNum type="circleNumDbPlain"/>
            </a:pPr>
            <a:r>
              <a:rPr lang="ko-KR" altLang="en-US" sz="1200" b="1" dirty="0">
                <a:solidFill>
                  <a:schemeClr val="bg2">
                    <a:lumMod val="25000"/>
                  </a:schemeClr>
                </a:solidFill>
              </a:rPr>
              <a:t>산포도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ko-KR" altLang="en-US" sz="1200">
                <a:solidFill>
                  <a:schemeClr val="bg2">
                    <a:lumMod val="25000"/>
                  </a:schemeClr>
                </a:solidFill>
              </a:rPr>
              <a:t>데이터는 어떻게 퍼져 있는가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?</a:t>
            </a:r>
          </a:p>
          <a:p>
            <a:pPr marL="228600" indent="-228600">
              <a:lnSpc>
                <a:spcPct val="150000"/>
              </a:lnSpc>
              <a:buFont typeface="+mj-ea"/>
              <a:buAutoNum type="circleNumDbPlain"/>
            </a:pPr>
            <a:r>
              <a:rPr lang="ko-KR" altLang="en-US" sz="1200" b="1" dirty="0" smtClean="0">
                <a:solidFill>
                  <a:schemeClr val="bg2">
                    <a:lumMod val="25000"/>
                  </a:schemeClr>
                </a:solidFill>
              </a:rPr>
              <a:t>분포의 형태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ko-KR" altLang="en-US" sz="1200">
                <a:solidFill>
                  <a:schemeClr val="bg2">
                    <a:lumMod val="25000"/>
                  </a:schemeClr>
                </a:solidFill>
              </a:rPr>
              <a:t>데이터 분포의 형태와 대칭성은 어떠한가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?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432185" y="3194533"/>
            <a:ext cx="1162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통계적 수치</a:t>
            </a:r>
            <a:endParaRPr lang="en-US" altLang="ko-KR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9729" y="3425530"/>
            <a:ext cx="1246228" cy="1074097"/>
          </a:xfrm>
          <a:prstGeom prst="rect">
            <a:avLst/>
          </a:prstGeom>
        </p:spPr>
      </p:pic>
      <p:cxnSp>
        <p:nvCxnSpPr>
          <p:cNvPr id="31" name="직선 화살표 연결선 30"/>
          <p:cNvCxnSpPr/>
          <p:nvPr/>
        </p:nvCxnSpPr>
        <p:spPr>
          <a:xfrm flipV="1">
            <a:off x="5426080" y="3440079"/>
            <a:ext cx="0" cy="1080000"/>
          </a:xfrm>
          <a:prstGeom prst="straightConnector1">
            <a:avLst/>
          </a:prstGeom>
          <a:ln w="12700"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직선 화살표 연결선 32"/>
          <p:cNvCxnSpPr/>
          <p:nvPr/>
        </p:nvCxnSpPr>
        <p:spPr>
          <a:xfrm rot="5400000" flipV="1">
            <a:off x="6104780" y="3827612"/>
            <a:ext cx="0" cy="1368000"/>
          </a:xfrm>
          <a:prstGeom prst="straightConnector1">
            <a:avLst/>
          </a:prstGeom>
          <a:ln w="12700"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화살표 연결선 35"/>
          <p:cNvCxnSpPr/>
          <p:nvPr/>
        </p:nvCxnSpPr>
        <p:spPr>
          <a:xfrm flipV="1">
            <a:off x="6919600" y="3448546"/>
            <a:ext cx="0" cy="1080000"/>
          </a:xfrm>
          <a:prstGeom prst="straightConnector1">
            <a:avLst/>
          </a:prstGeom>
          <a:ln w="12700"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화살표 연결선 36"/>
          <p:cNvCxnSpPr/>
          <p:nvPr/>
        </p:nvCxnSpPr>
        <p:spPr>
          <a:xfrm rot="5400000" flipV="1">
            <a:off x="7598300" y="3836079"/>
            <a:ext cx="0" cy="1368000"/>
          </a:xfrm>
          <a:prstGeom prst="straightConnector1">
            <a:avLst/>
          </a:prstGeom>
          <a:ln w="12700"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직선 화살표 연결선 38"/>
          <p:cNvCxnSpPr/>
          <p:nvPr/>
        </p:nvCxnSpPr>
        <p:spPr>
          <a:xfrm flipV="1">
            <a:off x="8374953" y="3448546"/>
            <a:ext cx="0" cy="1080000"/>
          </a:xfrm>
          <a:prstGeom prst="straightConnector1">
            <a:avLst/>
          </a:prstGeom>
          <a:ln w="12700"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직선 화살표 연결선 40"/>
          <p:cNvCxnSpPr/>
          <p:nvPr/>
        </p:nvCxnSpPr>
        <p:spPr>
          <a:xfrm rot="5400000" flipV="1">
            <a:off x="9053653" y="3836079"/>
            <a:ext cx="0" cy="1368000"/>
          </a:xfrm>
          <a:prstGeom prst="straightConnector1">
            <a:avLst/>
          </a:prstGeom>
          <a:ln w="12700"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그림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2315" y="3393649"/>
            <a:ext cx="1240595" cy="1105978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1635" y="3401886"/>
            <a:ext cx="1292946" cy="1089615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5258428" y="3115772"/>
            <a:ext cx="1611844" cy="2774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900" b="1" u="sng" dirty="0" smtClean="0">
                <a:solidFill>
                  <a:schemeClr val="bg2">
                    <a:lumMod val="25000"/>
                  </a:schemeClr>
                </a:solidFill>
              </a:rPr>
              <a:t>값들이 오른쪽에 쏠림</a:t>
            </a:r>
            <a:endParaRPr lang="en-US" altLang="ko-KR" sz="900" b="1" u="sng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5198147" y="4969302"/>
            <a:ext cx="4418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③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자료의 분포가 정규 분포와 어떻게 다른지 파악 가능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5309036" y="4470537"/>
            <a:ext cx="152708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900" b="1" dirty="0" smtClean="0">
                <a:solidFill>
                  <a:schemeClr val="bg2">
                    <a:lumMod val="25000"/>
                  </a:schemeClr>
                </a:solidFill>
              </a:rPr>
              <a:t>평균 </a:t>
            </a:r>
            <a:r>
              <a:rPr lang="en-US" altLang="ko-KR" sz="900" b="1" dirty="0">
                <a:solidFill>
                  <a:schemeClr val="bg2">
                    <a:lumMod val="25000"/>
                  </a:schemeClr>
                </a:solidFill>
              </a:rPr>
              <a:t>&lt; </a:t>
            </a:r>
            <a:r>
              <a:rPr lang="ko-KR" altLang="en-US" sz="900" b="1">
                <a:solidFill>
                  <a:schemeClr val="bg2">
                    <a:lumMod val="25000"/>
                  </a:schemeClr>
                </a:solidFill>
              </a:rPr>
              <a:t>중앙값 </a:t>
            </a:r>
            <a:r>
              <a:rPr lang="en-US" altLang="ko-KR" sz="900" b="1" dirty="0">
                <a:solidFill>
                  <a:schemeClr val="bg2">
                    <a:lumMod val="25000"/>
                  </a:schemeClr>
                </a:solidFill>
              </a:rPr>
              <a:t>&lt; </a:t>
            </a:r>
            <a:r>
              <a:rPr lang="ko-KR" altLang="en-US" sz="900" b="1">
                <a:solidFill>
                  <a:schemeClr val="bg2">
                    <a:lumMod val="25000"/>
                  </a:schemeClr>
                </a:solidFill>
              </a:rPr>
              <a:t>최빈값</a:t>
            </a:r>
            <a:endParaRPr lang="en-US" altLang="ko-KR" sz="900" b="1" dirty="0">
              <a:solidFill>
                <a:schemeClr val="bg2">
                  <a:lumMod val="25000"/>
                </a:schemeClr>
              </a:solidFill>
            </a:endParaRPr>
          </a:p>
          <a:p>
            <a:pPr algn="ctr">
              <a:lnSpc>
                <a:spcPct val="150000"/>
              </a:lnSpc>
            </a:pPr>
            <a:r>
              <a:rPr lang="ko-KR" altLang="en-US" sz="900" b="1" dirty="0" smtClean="0">
                <a:solidFill>
                  <a:schemeClr val="bg2">
                    <a:lumMod val="25000"/>
                  </a:schemeClr>
                </a:solidFill>
              </a:rPr>
              <a:t>왜도 </a:t>
            </a:r>
            <a:r>
              <a:rPr lang="en-US" altLang="ko-KR" sz="900" b="1" dirty="0">
                <a:solidFill>
                  <a:schemeClr val="bg2">
                    <a:lumMod val="25000"/>
                  </a:schemeClr>
                </a:solidFill>
              </a:rPr>
              <a:t>&lt; 0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6746891" y="4470537"/>
            <a:ext cx="16118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900" b="1" dirty="0" smtClean="0">
                <a:solidFill>
                  <a:schemeClr val="bg2">
                    <a:lumMod val="25000"/>
                  </a:schemeClr>
                </a:solidFill>
              </a:rPr>
              <a:t>평균 </a:t>
            </a:r>
            <a:r>
              <a:rPr lang="en-US" altLang="ko-KR" sz="900" b="1" dirty="0">
                <a:solidFill>
                  <a:schemeClr val="bg2">
                    <a:lumMod val="25000"/>
                  </a:schemeClr>
                </a:solidFill>
              </a:rPr>
              <a:t>=</a:t>
            </a:r>
            <a:r>
              <a:rPr lang="en-US" altLang="ko-KR" sz="90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900" b="1" smtClean="0">
                <a:solidFill>
                  <a:schemeClr val="bg2">
                    <a:lumMod val="25000"/>
                  </a:schemeClr>
                </a:solidFill>
              </a:rPr>
              <a:t>중앙값 </a:t>
            </a:r>
            <a:r>
              <a:rPr lang="en-US" altLang="ko-KR" sz="900" b="1" dirty="0" smtClean="0">
                <a:solidFill>
                  <a:schemeClr val="bg2">
                    <a:lumMod val="25000"/>
                  </a:schemeClr>
                </a:solidFill>
              </a:rPr>
              <a:t>= </a:t>
            </a:r>
            <a:r>
              <a:rPr lang="ko-KR" altLang="en-US" sz="900" b="1" smtClean="0">
                <a:solidFill>
                  <a:schemeClr val="bg2">
                    <a:lumMod val="25000"/>
                  </a:schemeClr>
                </a:solidFill>
              </a:rPr>
              <a:t>최빈값</a:t>
            </a:r>
            <a:endParaRPr lang="en-US" altLang="ko-KR" sz="900" b="1" dirty="0">
              <a:solidFill>
                <a:schemeClr val="bg2">
                  <a:lumMod val="25000"/>
                </a:schemeClr>
              </a:solidFill>
            </a:endParaRPr>
          </a:p>
          <a:p>
            <a:pPr algn="ctr">
              <a:lnSpc>
                <a:spcPct val="150000"/>
              </a:lnSpc>
            </a:pPr>
            <a:r>
              <a:rPr lang="ko-KR" altLang="en-US" sz="900" b="1" dirty="0" smtClean="0">
                <a:solidFill>
                  <a:schemeClr val="bg2">
                    <a:lumMod val="25000"/>
                  </a:schemeClr>
                </a:solidFill>
              </a:rPr>
              <a:t>왜도 </a:t>
            </a:r>
            <a:r>
              <a:rPr lang="en-US" altLang="ko-KR" sz="900" b="1" dirty="0" smtClean="0">
                <a:solidFill>
                  <a:schemeClr val="bg2">
                    <a:lumMod val="25000"/>
                  </a:schemeClr>
                </a:solidFill>
              </a:rPr>
              <a:t>= 0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8221318" y="4470537"/>
            <a:ext cx="16118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900" b="1" dirty="0" smtClean="0">
                <a:solidFill>
                  <a:schemeClr val="bg2">
                    <a:lumMod val="25000"/>
                  </a:schemeClr>
                </a:solidFill>
              </a:rPr>
              <a:t>평균 </a:t>
            </a:r>
            <a:r>
              <a:rPr lang="en-US" altLang="ko-KR" sz="900" b="1" dirty="0" smtClean="0">
                <a:solidFill>
                  <a:schemeClr val="bg2">
                    <a:lumMod val="25000"/>
                  </a:schemeClr>
                </a:solidFill>
              </a:rPr>
              <a:t>&gt; </a:t>
            </a:r>
            <a:r>
              <a:rPr lang="ko-KR" altLang="en-US" sz="900" b="1" smtClean="0">
                <a:solidFill>
                  <a:schemeClr val="bg2">
                    <a:lumMod val="25000"/>
                  </a:schemeClr>
                </a:solidFill>
              </a:rPr>
              <a:t>중앙값 </a:t>
            </a:r>
            <a:r>
              <a:rPr lang="en-US" altLang="ko-KR" sz="900" b="1" dirty="0">
                <a:solidFill>
                  <a:schemeClr val="bg2">
                    <a:lumMod val="25000"/>
                  </a:schemeClr>
                </a:solidFill>
              </a:rPr>
              <a:t>&gt;</a:t>
            </a:r>
            <a:r>
              <a:rPr lang="en-US" altLang="ko-KR" sz="900" b="1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900" b="1" smtClean="0">
                <a:solidFill>
                  <a:schemeClr val="bg2">
                    <a:lumMod val="25000"/>
                  </a:schemeClr>
                </a:solidFill>
              </a:rPr>
              <a:t>최빈값</a:t>
            </a:r>
            <a:endParaRPr lang="en-US" altLang="ko-KR" sz="900" b="1" dirty="0" smtClean="0">
              <a:solidFill>
                <a:schemeClr val="bg2">
                  <a:lumMod val="25000"/>
                </a:schemeClr>
              </a:solidFill>
            </a:endParaRPr>
          </a:p>
          <a:p>
            <a:pPr algn="ctr">
              <a:lnSpc>
                <a:spcPct val="150000"/>
              </a:lnSpc>
            </a:pPr>
            <a:r>
              <a:rPr lang="ko-KR" altLang="en-US" sz="900" b="1" dirty="0">
                <a:solidFill>
                  <a:schemeClr val="bg2">
                    <a:lumMod val="25000"/>
                  </a:schemeClr>
                </a:solidFill>
              </a:rPr>
              <a:t>왜</a:t>
            </a:r>
            <a:r>
              <a:rPr lang="ko-KR" altLang="en-US" sz="900" b="1" dirty="0" smtClean="0">
                <a:solidFill>
                  <a:schemeClr val="bg2">
                    <a:lumMod val="25000"/>
                  </a:schemeClr>
                </a:solidFill>
              </a:rPr>
              <a:t>도 </a:t>
            </a:r>
            <a:r>
              <a:rPr lang="en-US" altLang="ko-KR" sz="900" b="1" dirty="0" smtClean="0">
                <a:solidFill>
                  <a:schemeClr val="bg2">
                    <a:lumMod val="25000"/>
                  </a:schemeClr>
                </a:solidFill>
              </a:rPr>
              <a:t>&gt; 0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6745377" y="3104455"/>
            <a:ext cx="1611844" cy="2774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900" b="1" u="sng" dirty="0" smtClean="0">
                <a:solidFill>
                  <a:schemeClr val="bg2">
                    <a:lumMod val="25000"/>
                  </a:schemeClr>
                </a:solidFill>
              </a:rPr>
              <a:t>값들이 고르게 분포</a:t>
            </a:r>
            <a:endParaRPr lang="en-US" altLang="ko-KR" sz="900" b="1" u="sng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8175328" y="3104455"/>
            <a:ext cx="1611844" cy="2774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900" b="1" u="sng" dirty="0" smtClean="0">
                <a:solidFill>
                  <a:schemeClr val="bg2">
                    <a:lumMod val="25000"/>
                  </a:schemeClr>
                </a:solidFill>
              </a:rPr>
              <a:t>값들이 왼쪽에 쏠림</a:t>
            </a:r>
            <a:endParaRPr lang="en-US" altLang="ko-KR" sz="900" b="1" u="sng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5189081" y="2518489"/>
            <a:ext cx="4663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① 자료의 개수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,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자료에 </a:t>
            </a:r>
            <a:r>
              <a:rPr lang="ko-KR" altLang="en-US" sz="120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결측치가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존재하는지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파악 가능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cxnSp>
        <p:nvCxnSpPr>
          <p:cNvPr id="62" name="직선 화살표 연결선 61"/>
          <p:cNvCxnSpPr/>
          <p:nvPr/>
        </p:nvCxnSpPr>
        <p:spPr>
          <a:xfrm rot="5400000" flipV="1">
            <a:off x="9072703" y="5678952"/>
            <a:ext cx="0" cy="1368000"/>
          </a:xfrm>
          <a:prstGeom prst="straightConnector1">
            <a:avLst/>
          </a:prstGeom>
          <a:ln w="12700"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직선 화살표 연결선 63"/>
          <p:cNvCxnSpPr/>
          <p:nvPr/>
        </p:nvCxnSpPr>
        <p:spPr>
          <a:xfrm rot="5400000" flipV="1">
            <a:off x="6172966" y="5678952"/>
            <a:ext cx="0" cy="1368000"/>
          </a:xfrm>
          <a:prstGeom prst="straightConnector1">
            <a:avLst/>
          </a:prstGeom>
          <a:ln w="12700"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화살표 연결선 64"/>
          <p:cNvCxnSpPr/>
          <p:nvPr/>
        </p:nvCxnSpPr>
        <p:spPr>
          <a:xfrm rot="5400000" flipV="1">
            <a:off x="7605715" y="5678952"/>
            <a:ext cx="0" cy="1368000"/>
          </a:xfrm>
          <a:prstGeom prst="straightConnector1">
            <a:avLst/>
          </a:prstGeom>
          <a:ln w="12700"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그림 2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8775" y="5599998"/>
            <a:ext cx="1234683" cy="717163"/>
          </a:xfrm>
          <a:prstGeom prst="rect">
            <a:avLst/>
          </a:prstGeom>
        </p:spPr>
      </p:pic>
      <p:pic>
        <p:nvPicPr>
          <p:cNvPr id="49" name="그림 4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9"/>
          <a:stretch/>
        </p:blipFill>
        <p:spPr>
          <a:xfrm>
            <a:off x="6987003" y="5483828"/>
            <a:ext cx="1218828" cy="804312"/>
          </a:xfrm>
          <a:prstGeom prst="rect">
            <a:avLst/>
          </a:prstGeom>
        </p:spPr>
      </p:pic>
      <p:sp>
        <p:nvSpPr>
          <p:cNvPr id="67" name="직사각형 66"/>
          <p:cNvSpPr/>
          <p:nvPr/>
        </p:nvSpPr>
        <p:spPr>
          <a:xfrm>
            <a:off x="5409421" y="6311469"/>
            <a:ext cx="1527089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900" b="1" dirty="0" smtClean="0">
                <a:solidFill>
                  <a:schemeClr val="bg2">
                    <a:lumMod val="25000"/>
                  </a:schemeClr>
                </a:solidFill>
              </a:rPr>
              <a:t>첨도 </a:t>
            </a:r>
            <a:r>
              <a:rPr lang="en-US" altLang="ko-KR" sz="900" b="1" dirty="0" smtClean="0">
                <a:solidFill>
                  <a:schemeClr val="bg2">
                    <a:lumMod val="25000"/>
                  </a:schemeClr>
                </a:solidFill>
              </a:rPr>
              <a:t>= 0</a:t>
            </a:r>
            <a:endParaRPr lang="en-US" altLang="ko-KR" sz="9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6806804" y="6311469"/>
            <a:ext cx="1527089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900" b="1" dirty="0" smtClean="0">
                <a:solidFill>
                  <a:schemeClr val="bg2">
                    <a:lumMod val="25000"/>
                  </a:schemeClr>
                </a:solidFill>
              </a:rPr>
              <a:t>첨도 </a:t>
            </a:r>
            <a:r>
              <a:rPr lang="en-US" altLang="ko-KR" sz="900" b="1" dirty="0">
                <a:solidFill>
                  <a:schemeClr val="bg2">
                    <a:lumMod val="25000"/>
                  </a:schemeClr>
                </a:solidFill>
              </a:rPr>
              <a:t>&gt;</a:t>
            </a:r>
            <a:r>
              <a:rPr lang="en-US" altLang="ko-KR" sz="900" b="1" dirty="0" smtClean="0">
                <a:solidFill>
                  <a:schemeClr val="bg2">
                    <a:lumMod val="25000"/>
                  </a:schemeClr>
                </a:solidFill>
              </a:rPr>
              <a:t> 0</a:t>
            </a:r>
            <a:endParaRPr lang="en-US" altLang="ko-KR" sz="9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8272518" y="6311469"/>
            <a:ext cx="1527089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900" b="1" smtClean="0">
                <a:solidFill>
                  <a:schemeClr val="bg2">
                    <a:lumMod val="25000"/>
                  </a:schemeClr>
                </a:solidFill>
              </a:rPr>
              <a:t>첨도 </a:t>
            </a:r>
            <a:r>
              <a:rPr lang="en-US" altLang="ko-KR" sz="900" b="1" dirty="0">
                <a:solidFill>
                  <a:schemeClr val="bg2">
                    <a:lumMod val="25000"/>
                  </a:schemeClr>
                </a:solidFill>
              </a:rPr>
              <a:t>&lt;</a:t>
            </a:r>
            <a:r>
              <a:rPr lang="en-US" altLang="ko-KR" sz="900" b="1" dirty="0" smtClean="0">
                <a:solidFill>
                  <a:schemeClr val="bg2">
                    <a:lumMod val="25000"/>
                  </a:schemeClr>
                </a:solidFill>
              </a:rPr>
              <a:t> 0</a:t>
            </a:r>
            <a:endParaRPr lang="en-US" altLang="ko-KR" sz="9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345060" y="5290133"/>
            <a:ext cx="161184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900" b="1" u="sng" dirty="0" smtClean="0">
                <a:solidFill>
                  <a:schemeClr val="bg2">
                    <a:lumMod val="25000"/>
                  </a:schemeClr>
                </a:solidFill>
              </a:rPr>
              <a:t>정규 분포를 따름</a:t>
            </a:r>
            <a:endParaRPr lang="en-US" altLang="ko-KR" sz="900" b="1" u="sng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6832009" y="5278816"/>
            <a:ext cx="161184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900" b="1" u="sng" dirty="0" smtClean="0">
                <a:solidFill>
                  <a:schemeClr val="bg2">
                    <a:lumMod val="25000"/>
                  </a:schemeClr>
                </a:solidFill>
              </a:rPr>
              <a:t>정규분포보다 </a:t>
            </a:r>
            <a:r>
              <a:rPr lang="ko-KR" altLang="en-US" sz="900" b="1" u="sng" dirty="0" err="1" smtClean="0">
                <a:solidFill>
                  <a:schemeClr val="bg2">
                    <a:lumMod val="25000"/>
                  </a:schemeClr>
                </a:solidFill>
              </a:rPr>
              <a:t>뾰족</a:t>
            </a:r>
            <a:endParaRPr lang="en-US" altLang="ko-KR" sz="900" b="1" u="sng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8261960" y="5278816"/>
            <a:ext cx="161184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900" b="1" u="sng" dirty="0" smtClean="0">
                <a:solidFill>
                  <a:schemeClr val="bg2">
                    <a:lumMod val="25000"/>
                  </a:schemeClr>
                </a:solidFill>
              </a:rPr>
              <a:t>정규분포보다 납작</a:t>
            </a:r>
            <a:endParaRPr lang="en-US" altLang="ko-KR" sz="900" b="1" u="sng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73" name="그림 7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1536" y="5575385"/>
            <a:ext cx="1124246" cy="772072"/>
          </a:xfrm>
          <a:prstGeom prst="rect">
            <a:avLst/>
          </a:prstGeom>
        </p:spPr>
      </p:pic>
      <p:sp>
        <p:nvSpPr>
          <p:cNvPr id="50" name="직사각형 49">
            <a:hlinkClick r:id="rId8" action="ppaction://hlinksldjump"/>
          </p:cNvPr>
          <p:cNvSpPr/>
          <p:nvPr/>
        </p:nvSpPr>
        <p:spPr>
          <a:xfrm>
            <a:off x="9023838" y="284285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smtClean="0">
                <a:solidFill>
                  <a:schemeClr val="tx1"/>
                </a:solidFill>
              </a:rPr>
              <a:t>돌아가기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245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8" name="직사각형 7"/>
              <p:cNvSpPr/>
              <p:nvPr/>
            </p:nvSpPr>
            <p:spPr>
              <a:xfrm>
                <a:off x="5345292" y="2814127"/>
                <a:ext cx="4289279" cy="267765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lvl="0" indent="-171450">
                  <a:lnSpc>
                    <a:spcPct val="150000"/>
                  </a:lnSpc>
                  <a:buFontTx/>
                  <a:buChar char="-"/>
                </a:pP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두 변수의 </a:t>
                </a:r>
                <a:r>
                  <a:rPr lang="ko-KR" altLang="en-US" sz="1200" dirty="0" err="1">
                    <a:solidFill>
                      <a:srgbClr val="E7E6E6">
                        <a:lumMod val="25000"/>
                      </a:srgbClr>
                    </a:solidFill>
                  </a:rPr>
                  <a:t>밀접성</a:t>
                </a: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(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선형관계</a:t>
                </a: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) 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강도와 방향을 요약하는 수치</a:t>
                </a:r>
                <a:endParaRPr lang="en-US" altLang="ko-KR" sz="1200" dirty="0">
                  <a:solidFill>
                    <a:srgbClr val="E7E6E6">
                      <a:lumMod val="25000"/>
                    </a:srgbClr>
                  </a:solidFill>
                </a:endParaRPr>
              </a:p>
              <a:p>
                <a:pPr marL="171450" lvl="0" indent="-171450">
                  <a:lnSpc>
                    <a:spcPct val="150000"/>
                  </a:lnSpc>
                  <a:buFontTx/>
                  <a:buChar char="-"/>
                </a:pP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대표적인 지표</a:t>
                </a: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: 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 </a:t>
                </a:r>
                <a:r>
                  <a:rPr lang="ko-KR" altLang="en-US" sz="1200" dirty="0" err="1">
                    <a:solidFill>
                      <a:srgbClr val="E7E6E6">
                        <a:lumMod val="25000"/>
                      </a:srgbClr>
                    </a:solidFill>
                  </a:rPr>
                  <a:t>피어슨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 상관 계수</a:t>
                </a: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𝑃𝑒𝑎𝑟𝑠𝑜</m:t>
                    </m:r>
                    <m:sSup>
                      <m:sSupPr>
                        <m:ctrlP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e>
                      <m:sup>
                        <m: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𝑠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𝑟</m:t>
                    </m:r>
                  </m:oMath>
                </a14:m>
                <a:r>
                  <a:rPr lang="en-US" altLang="ko-KR" sz="1200" dirty="0" smtClean="0">
                    <a:solidFill>
                      <a:srgbClr val="E7E6E6">
                        <a:lumMod val="25000"/>
                      </a:srgbClr>
                    </a:solidFill>
                  </a:rPr>
                  <a:t>)</a:t>
                </a:r>
                <a:endParaRPr lang="en-US" altLang="ko-KR" sz="1200" dirty="0">
                  <a:solidFill>
                    <a:srgbClr val="E7E6E6">
                      <a:lumMod val="25000"/>
                    </a:srgbClr>
                  </a:solidFill>
                </a:endParaRPr>
              </a:p>
              <a:p>
                <a:pPr lvl="0">
                  <a:lnSpc>
                    <a:spcPct val="150000"/>
                  </a:lnSpc>
                </a:pPr>
                <a:endParaRPr lang="en-US" altLang="ko-KR" sz="800" dirty="0">
                  <a:solidFill>
                    <a:srgbClr val="E7E6E6">
                      <a:lumMod val="25000"/>
                    </a:srgbClr>
                  </a:solidFill>
                </a:endParaRPr>
              </a:p>
              <a:p>
                <a:pPr marL="171450" lvl="0" indent="-171450">
                  <a:lnSpc>
                    <a:spcPct val="150000"/>
                  </a:lnSpc>
                  <a:buFontTx/>
                  <a:buChar char="-"/>
                </a:pP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                                                       </a:t>
                </a:r>
                <a:r>
                  <a:rPr lang="en-US" altLang="ko-KR" sz="1200" dirty="0" smtClean="0">
                    <a:solidFill>
                      <a:srgbClr val="E7E6E6">
                        <a:lumMod val="25000"/>
                      </a:srgbClr>
                    </a:solidFill>
                  </a:rPr>
                  <a:t>     ,    </a:t>
                </a: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(</a:t>
                </a:r>
                <a14:m>
                  <m:oMath xmlns:m="http://schemas.openxmlformats.org/officeDocument/2006/math"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−1 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 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𝑟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≤1</m:t>
                    </m:r>
                  </m:oMath>
                </a14:m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) </a:t>
                </a:r>
              </a:p>
              <a:p>
                <a:pPr lvl="0">
                  <a:lnSpc>
                    <a:spcPct val="150000"/>
                  </a:lnSpc>
                </a:pPr>
                <a:endParaRPr lang="en-US" altLang="ko-KR" sz="800" dirty="0">
                  <a:solidFill>
                    <a:srgbClr val="E7E6E6">
                      <a:lumMod val="25000"/>
                    </a:srgbClr>
                  </a:solidFill>
                </a:endParaRPr>
              </a:p>
              <a:p>
                <a:pPr marL="171450" lvl="0" indent="-171450">
                  <a:lnSpc>
                    <a:spcPct val="150000"/>
                  </a:lnSpc>
                  <a:buFontTx/>
                  <a:buChar char="-"/>
                </a:pP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</m:d>
                  </m:oMath>
                </a14:m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  =  1 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 </a:t>
                </a: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:  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완전한 선형관계</a:t>
                </a: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,   </a:t>
                </a: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ko-KR" sz="1200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</m:d>
                  </m:oMath>
                </a14:m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  =  0 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 </a:t>
                </a: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:  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선형관계 없음</a:t>
                </a:r>
                <a:endParaRPr lang="en-US" altLang="ko-KR" sz="1200" dirty="0">
                  <a:solidFill>
                    <a:srgbClr val="E7E6E6">
                      <a:lumMod val="25000"/>
                    </a:srgbClr>
                  </a:solidFill>
                </a:endParaRPr>
              </a:p>
              <a:p>
                <a:pPr marL="171450" lvl="0" indent="-171450">
                  <a:lnSpc>
                    <a:spcPct val="150000"/>
                  </a:lnSpc>
                  <a:buFontTx/>
                  <a:buChar char="-"/>
                </a:pPr>
                <a14:m>
                  <m:oMath xmlns:m="http://schemas.openxmlformats.org/officeDocument/2006/math"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0.7 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begChr m:val="|"/>
                        <m:endChr m:val="|"/>
                        <m:ctrlP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</m:d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1.0</m:t>
                    </m:r>
                  </m:oMath>
                </a14:m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   :  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강한 상관관계</a:t>
                </a:r>
                <a:endParaRPr lang="en-US" altLang="ko-KR" sz="1200" dirty="0">
                  <a:solidFill>
                    <a:srgbClr val="E7E6E6">
                      <a:lumMod val="25000"/>
                    </a:srgbClr>
                  </a:solidFill>
                </a:endParaRPr>
              </a:p>
              <a:p>
                <a:pPr marL="171450" lvl="0" indent="-171450">
                  <a:lnSpc>
                    <a:spcPct val="150000"/>
                  </a:lnSpc>
                  <a:buFontTx/>
                  <a:buChar char="-"/>
                </a:pPr>
                <a14:m>
                  <m:oMath xmlns:m="http://schemas.openxmlformats.org/officeDocument/2006/math"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0.3 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 </m:t>
                    </m:r>
                    <m:d>
                      <m:dPr>
                        <m:begChr m:val="|"/>
                        <m:endChr m:val="|"/>
                        <m:ctrlP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</m:d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0.7</m:t>
                    </m:r>
                  </m:oMath>
                </a14:m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   :  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비교적 뚜렷한 상관관계</a:t>
                </a:r>
                <a:endParaRPr lang="en-US" altLang="ko-KR" sz="1200" dirty="0">
                  <a:solidFill>
                    <a:srgbClr val="E7E6E6">
                      <a:lumMod val="25000"/>
                    </a:srgbClr>
                  </a:solidFill>
                </a:endParaRPr>
              </a:p>
              <a:p>
                <a:pPr marL="171450" lvl="0" indent="-171450">
                  <a:lnSpc>
                    <a:spcPct val="150000"/>
                  </a:lnSpc>
                  <a:buFontTx/>
                  <a:buChar char="-"/>
                </a:pPr>
                <a14:m>
                  <m:oMath xmlns:m="http://schemas.openxmlformats.org/officeDocument/2006/math"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0.1 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 </m:t>
                    </m:r>
                    <m:d>
                      <m:dPr>
                        <m:begChr m:val="|"/>
                        <m:endChr m:val="|"/>
                        <m:ctrlP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</m:d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0.3</m:t>
                    </m:r>
                  </m:oMath>
                </a14:m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   :  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약한 상관관계</a:t>
                </a:r>
                <a:endParaRPr lang="en-US" altLang="ko-KR" sz="1200" dirty="0">
                  <a:solidFill>
                    <a:srgbClr val="E7E6E6">
                      <a:lumMod val="25000"/>
                    </a:srgbClr>
                  </a:solidFill>
                </a:endParaRPr>
              </a:p>
              <a:p>
                <a:pPr marL="171450" lvl="0" indent="-171450">
                  <a:lnSpc>
                    <a:spcPct val="150000"/>
                  </a:lnSpc>
                  <a:buFontTx/>
                  <a:buChar char="-"/>
                </a:pP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   </a:t>
                </a:r>
                <a14:m>
                  <m:oMath xmlns:m="http://schemas.openxmlformats.org/officeDocument/2006/math"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0 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 </m:t>
                    </m:r>
                    <m:d>
                      <m:dPr>
                        <m:begChr m:val="|"/>
                        <m:endChr m:val="|"/>
                        <m:ctrlP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</m:d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ko-KR" sz="1200" i="1">
                        <a:solidFill>
                          <a:srgbClr val="E7E6E6">
                            <a:lumMod val="25000"/>
                          </a:srgbClr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0.1</m:t>
                    </m:r>
                  </m:oMath>
                </a14:m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   :  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거의 무시될 수 있는 상관관계</a:t>
                </a:r>
                <a:endParaRPr lang="en-US" altLang="ko-KR" sz="1200" dirty="0">
                  <a:solidFill>
                    <a:srgbClr val="E7E6E6">
                      <a:lumMod val="25000"/>
                    </a:srgbClr>
                  </a:solidFill>
                </a:endParaRPr>
              </a:p>
            </p:txBody>
          </p:sp>
        </mc:Choice>
        <mc:Fallback xmlns="">
          <p:sp>
            <p:nvSpPr>
              <p:cNvPr id="8" name="직사각형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45292" y="2814127"/>
                <a:ext cx="4289279" cy="2677656"/>
              </a:xfrm>
              <a:prstGeom prst="rect">
                <a:avLst/>
              </a:prstGeom>
              <a:blipFill rotWithShape="0">
                <a:blip r:embed="rId2"/>
                <a:stretch>
                  <a:fillRect l="-142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3" y="209756"/>
            <a:ext cx="5815142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+mj-ea"/>
              </a:rPr>
              <a:t>[</a:t>
            </a:r>
            <a:r>
              <a:rPr lang="ko-KR" altLang="en-US" dirty="0">
                <a:latin typeface="+mj-ea"/>
              </a:rPr>
              <a:t>참고</a:t>
            </a:r>
            <a:r>
              <a:rPr lang="en-US" altLang="ko-KR" dirty="0">
                <a:latin typeface="+mj-ea"/>
              </a:rPr>
              <a:t>] </a:t>
            </a:r>
            <a:r>
              <a:rPr lang="ko-KR" altLang="en-US" dirty="0">
                <a:latin typeface="+mj-ea"/>
              </a:rPr>
              <a:t>데이터 탐색적 분석 </a:t>
            </a:r>
            <a:r>
              <a:rPr lang="en-US" altLang="ko-KR" dirty="0" smtClean="0">
                <a:latin typeface="+mj-ea"/>
              </a:rPr>
              <a:t>- </a:t>
            </a:r>
            <a:r>
              <a:rPr kumimoji="1" lang="en-US" altLang="ko-KR" dirty="0">
                <a:solidFill>
                  <a:prstClr val="black"/>
                </a:solidFill>
                <a:cs typeface="Arial"/>
              </a:rPr>
              <a:t>X</a:t>
            </a:r>
            <a:r>
              <a:rPr kumimoji="1" lang="ko-KR" altLang="en-US" dirty="0">
                <a:solidFill>
                  <a:prstClr val="black"/>
                </a:solidFill>
                <a:cs typeface="Arial"/>
              </a:rPr>
              <a:t>인자간의 상관 </a:t>
            </a:r>
            <a:r>
              <a:rPr kumimoji="1" lang="ko-KR" altLang="en-US" dirty="0" smtClean="0">
                <a:solidFill>
                  <a:prstClr val="black"/>
                </a:solidFill>
                <a:cs typeface="Arial"/>
              </a:rPr>
              <a:t>분석</a:t>
            </a:r>
            <a:endParaRPr lang="ko-KR" altLang="en-US" dirty="0">
              <a:latin typeface="+mj-e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32186" y="2169029"/>
            <a:ext cx="2929579" cy="295136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indent="-180975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en-US" altLang="ko-KR" sz="1300" b="1" dirty="0">
                <a:solidFill>
                  <a:prstClr val="black"/>
                </a:solidFill>
                <a:cs typeface="Arial"/>
              </a:rPr>
              <a:t>X</a:t>
            </a:r>
            <a:r>
              <a:rPr kumimoji="1" lang="ko-KR" altLang="en-US" sz="1300" b="1">
                <a:solidFill>
                  <a:prstClr val="black"/>
                </a:solidFill>
                <a:cs typeface="Arial"/>
              </a:rPr>
              <a:t>인자간의 상관 분석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007117" y="2169029"/>
            <a:ext cx="4514952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indent="-180975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en-US" altLang="ko-KR" sz="1300" b="1" dirty="0">
                <a:solidFill>
                  <a:prstClr val="black"/>
                </a:solidFill>
                <a:cs typeface="Arial"/>
              </a:rPr>
              <a:t>X</a:t>
            </a:r>
            <a:r>
              <a:rPr kumimoji="1" lang="ko-KR" altLang="en-US" sz="1300" b="1">
                <a:solidFill>
                  <a:prstClr val="black"/>
                </a:solidFill>
                <a:cs typeface="Arial"/>
              </a:rPr>
              <a:t>인자간의 상관 </a:t>
            </a:r>
            <a:r>
              <a:rPr kumimoji="1" lang="ko-KR" altLang="en-US" sz="1300" b="1" smtClean="0">
                <a:solidFill>
                  <a:prstClr val="black"/>
                </a:solidFill>
                <a:cs typeface="Arial"/>
              </a:rPr>
              <a:t>분석을 </a:t>
            </a:r>
            <a:r>
              <a:rPr kumimoji="1" lang="ko-KR" altLang="en-US" sz="1300" b="1" dirty="0" smtClean="0">
                <a:solidFill>
                  <a:prstClr val="black"/>
                </a:solidFill>
                <a:cs typeface="Arial"/>
              </a:rPr>
              <a:t>통해 알게 되는 사항</a:t>
            </a:r>
            <a:endParaRPr kumimoji="1" lang="ko-KR" altLang="en-US" sz="1300" b="1" dirty="0">
              <a:solidFill>
                <a:prstClr val="black"/>
              </a:solidFill>
              <a:cs typeface="Arial"/>
            </a:endParaRPr>
          </a:p>
        </p:txBody>
      </p:sp>
      <p:cxnSp>
        <p:nvCxnSpPr>
          <p:cNvPr id="53" name="직선 연결선 52"/>
          <p:cNvCxnSpPr/>
          <p:nvPr/>
        </p:nvCxnSpPr>
        <p:spPr>
          <a:xfrm>
            <a:off x="4980066" y="2187389"/>
            <a:ext cx="17929" cy="432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5189081" y="2482433"/>
            <a:ext cx="4615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①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상관계수의 의미와 수치 해석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186150" y="5551034"/>
            <a:ext cx="4406086" cy="3391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②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 상관분석에 대한 가설 검정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43070" y="2477160"/>
            <a:ext cx="4192224" cy="374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양적인 두 변수간의 선형적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·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비선형적 관계성을 확인함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직사각형 1"/>
              <p:cNvSpPr/>
              <p:nvPr/>
            </p:nvSpPr>
            <p:spPr>
              <a:xfrm>
                <a:off x="5511567" y="3499505"/>
                <a:ext cx="2251386" cy="47243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ko-KR" sz="1100" i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altLang="ko-KR" sz="1100" i="1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altLang="ko-KR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altLang="ko-KR" sz="1100" i="1">
                                  <a:solidFill>
                                    <a:schemeClr val="bg2">
                                      <a:lumMod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R" sz="1100" i="1">
                                  <a:solidFill>
                                    <a:schemeClr val="bg2">
                                      <a:lumMod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altLang="ko-KR" sz="1100" i="1">
                                  <a:solidFill>
                                    <a:schemeClr val="bg2">
                                      <a:lumMod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ko-KR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과</m:t>
                          </m:r>
                          <m:r>
                            <a:rPr lang="en-US" altLang="ko-KR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sSub>
                            <m:sSubPr>
                              <m:ctrlPr>
                                <a:rPr lang="en-US" altLang="ko-KR" sz="1100" i="1">
                                  <a:solidFill>
                                    <a:schemeClr val="bg2">
                                      <a:lumMod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R" sz="1100" i="1">
                                  <a:solidFill>
                                    <a:schemeClr val="bg2">
                                      <a:lumMod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altLang="ko-KR" sz="1100" i="1">
                                  <a:solidFill>
                                    <a:schemeClr val="bg2">
                                      <a:lumMod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ko-KR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가</m:t>
                          </m:r>
                          <m:r>
                            <a:rPr lang="en-US" altLang="ko-KR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함께</m:t>
                          </m:r>
                          <m:r>
                            <a:rPr lang="en-US" altLang="ko-KR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변하는</m:t>
                          </m:r>
                          <m:r>
                            <a:rPr lang="en-US" altLang="ko-KR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정도</m:t>
                          </m:r>
                        </m:num>
                        <m:den>
                          <m:sSub>
                            <m:sSubPr>
                              <m:ctrlPr>
                                <a:rPr lang="en-US" altLang="ko-KR" sz="1100" i="1">
                                  <a:solidFill>
                                    <a:schemeClr val="bg2">
                                      <a:lumMod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R" sz="1100" i="1">
                                  <a:solidFill>
                                    <a:schemeClr val="bg2">
                                      <a:lumMod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altLang="ko-KR" sz="1100" i="1">
                                  <a:solidFill>
                                    <a:schemeClr val="bg2">
                                      <a:lumMod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altLang="ko-KR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과</m:t>
                          </m:r>
                          <m:r>
                            <a:rPr lang="en-US" altLang="ko-KR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sSub>
                            <m:sSubPr>
                              <m:ctrlPr>
                                <a:rPr lang="en-US" altLang="ko-KR" sz="1100" i="1">
                                  <a:solidFill>
                                    <a:schemeClr val="bg2">
                                      <a:lumMod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ko-KR" sz="1100" i="1">
                                  <a:solidFill>
                                    <a:schemeClr val="bg2">
                                      <a:lumMod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b>
                              <m:r>
                                <a:rPr lang="en-US" altLang="ko-KR" sz="1100" i="1">
                                  <a:solidFill>
                                    <a:schemeClr val="bg2">
                                      <a:lumMod val="2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ko-KR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가</m:t>
                          </m:r>
                          <m:r>
                            <a:rPr lang="en-US" altLang="ko-KR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각각</m:t>
                          </m:r>
                          <m:r>
                            <a:rPr lang="en-US" altLang="ko-KR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변하는</m:t>
                          </m:r>
                          <m:r>
                            <a:rPr lang="en-US" altLang="ko-KR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ko-KR" altLang="en-US" sz="1100" i="1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정도</m:t>
                          </m:r>
                        </m:den>
                      </m:f>
                    </m:oMath>
                  </m:oMathPara>
                </a14:m>
                <a:endParaRPr lang="ko-KR" altLang="en-US" sz="1100" dirty="0"/>
              </a:p>
            </p:txBody>
          </p:sp>
        </mc:Choice>
        <mc:Fallback xmlns="">
          <p:sp>
            <p:nvSpPr>
              <p:cNvPr id="2" name="직사각형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11567" y="3499505"/>
                <a:ext cx="2251386" cy="472437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직사각형 9"/>
              <p:cNvSpPr/>
              <p:nvPr/>
            </p:nvSpPr>
            <p:spPr>
              <a:xfrm>
                <a:off x="5345292" y="5860564"/>
                <a:ext cx="4289279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lvl="0" indent="-171450">
                  <a:lnSpc>
                    <a:spcPct val="150000"/>
                  </a:lnSpc>
                  <a:buFontTx/>
                  <a:buChar char="-"/>
                </a:pP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귀무가설</a:t>
                </a: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): 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두 변수간의 상관관계가 없다</a:t>
                </a: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.</a:t>
                </a:r>
              </a:p>
              <a:p>
                <a:pPr marL="171450" lvl="0" indent="-171450">
                  <a:lnSpc>
                    <a:spcPct val="150000"/>
                  </a:lnSpc>
                  <a:buFontTx/>
                  <a:buChar char="-"/>
                </a:pP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대립가설</a:t>
                </a: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en-US" altLang="ko-KR" sz="1200" i="1">
                            <a:solidFill>
                              <a:srgbClr val="E7E6E6">
                                <a:lumMod val="25000"/>
                              </a:srgbClr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): </a:t>
                </a:r>
                <a:r>
                  <a:rPr lang="ko-KR" altLang="en-US" sz="1200" dirty="0">
                    <a:solidFill>
                      <a:srgbClr val="E7E6E6">
                        <a:lumMod val="25000"/>
                      </a:srgbClr>
                    </a:solidFill>
                  </a:rPr>
                  <a:t>두 변수간의 상관관계가 있다</a:t>
                </a:r>
                <a:r>
                  <a:rPr lang="en-US" altLang="ko-KR" sz="1200" dirty="0">
                    <a:solidFill>
                      <a:srgbClr val="E7E6E6">
                        <a:lumMod val="25000"/>
                      </a:srgbClr>
                    </a:solidFill>
                  </a:rPr>
                  <a:t>.</a:t>
                </a:r>
              </a:p>
            </p:txBody>
          </p:sp>
        </mc:Choice>
        <mc:Fallback xmlns="">
          <p:sp>
            <p:nvSpPr>
              <p:cNvPr id="10" name="직사각형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45292" y="5860564"/>
                <a:ext cx="4289279" cy="646331"/>
              </a:xfrm>
              <a:prstGeom prst="rect">
                <a:avLst/>
              </a:prstGeom>
              <a:blipFill rotWithShape="0">
                <a:blip r:embed="rId4"/>
                <a:stretch>
                  <a:fillRect l="-142" b="-3774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0" name="그룹 29"/>
          <p:cNvGrpSpPr/>
          <p:nvPr/>
        </p:nvGrpSpPr>
        <p:grpSpPr>
          <a:xfrm>
            <a:off x="406785" y="3131222"/>
            <a:ext cx="4385773" cy="3067768"/>
            <a:chOff x="406785" y="3131222"/>
            <a:chExt cx="4385773" cy="3067768"/>
          </a:xfrm>
        </p:grpSpPr>
        <p:pic>
          <p:nvPicPr>
            <p:cNvPr id="14" name="그림 13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31" t="746" r="1450" b="63390"/>
            <a:stretch/>
          </p:blipFill>
          <p:spPr>
            <a:xfrm>
              <a:off x="435004" y="3131222"/>
              <a:ext cx="4334933" cy="1168400"/>
            </a:xfrm>
            <a:prstGeom prst="rect">
              <a:avLst/>
            </a:prstGeom>
          </p:spPr>
        </p:pic>
        <p:pic>
          <p:nvPicPr>
            <p:cNvPr id="35" name="그림 34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22" t="53243" r="1641" b="11932"/>
            <a:stretch/>
          </p:blipFill>
          <p:spPr>
            <a:xfrm>
              <a:off x="443472" y="4620353"/>
              <a:ext cx="4318000" cy="1134533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460407" y="4299622"/>
              <a:ext cx="131233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50" dirty="0" smtClean="0"/>
                <a:t>강한 양의 상관관계</a:t>
              </a:r>
              <a:endParaRPr lang="ko-KR" altLang="en-US" sz="1050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973166" y="4299622"/>
              <a:ext cx="131233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50" dirty="0" smtClean="0"/>
                <a:t>약한 양의 상관관계</a:t>
              </a:r>
              <a:endParaRPr lang="ko-KR" altLang="en-US" sz="1050" dirty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3480226" y="4299622"/>
              <a:ext cx="131233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50" dirty="0" smtClean="0"/>
                <a:t>강한 음의 상관관계</a:t>
              </a:r>
              <a:endParaRPr lang="ko-KR" altLang="en-US" sz="1050" dirty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60407" y="5783492"/>
              <a:ext cx="131233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50" dirty="0" smtClean="0"/>
                <a:t>약한 음의 상관관계</a:t>
              </a:r>
              <a:endParaRPr lang="ko-KR" altLang="en-US" sz="1050" dirty="0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973166" y="5783492"/>
              <a:ext cx="131233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50" dirty="0" smtClean="0"/>
                <a:t> 비교적 뚜렷한 </a:t>
              </a:r>
              <a:r>
                <a:rPr lang="en-US" altLang="ko-KR" sz="1050" dirty="0" smtClean="0"/>
                <a:t/>
              </a:r>
              <a:br>
                <a:rPr lang="en-US" altLang="ko-KR" sz="1050" dirty="0" smtClean="0"/>
              </a:br>
              <a:r>
                <a:rPr lang="ko-KR" altLang="en-US" sz="1050" dirty="0" smtClean="0"/>
                <a:t>음의 상관관계</a:t>
              </a:r>
              <a:endParaRPr lang="ko-KR" altLang="en-US" sz="1050" dirty="0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3480226" y="5783492"/>
              <a:ext cx="131233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1050" dirty="0" smtClean="0"/>
                <a:t>상관관계</a:t>
              </a:r>
              <a:r>
                <a:rPr lang="en-US" altLang="ko-KR" sz="1050" dirty="0" smtClean="0"/>
                <a:t>(</a:t>
              </a:r>
              <a:r>
                <a:rPr lang="ko-KR" altLang="en-US" sz="1050" dirty="0" err="1" smtClean="0"/>
                <a:t>선형성</a:t>
              </a:r>
              <a:r>
                <a:rPr lang="en-US" altLang="ko-KR" sz="1050" dirty="0" smtClean="0"/>
                <a:t>) </a:t>
              </a:r>
              <a:r>
                <a:rPr lang="ko-KR" altLang="en-US" sz="1050" dirty="0" smtClean="0"/>
                <a:t>없음</a:t>
              </a:r>
              <a:endParaRPr lang="ko-KR" altLang="en-US" sz="1050" dirty="0"/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415252" y="3131222"/>
              <a:ext cx="110884" cy="1168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3" name="직사각형 42"/>
            <p:cNvSpPr/>
            <p:nvPr/>
          </p:nvSpPr>
          <p:spPr>
            <a:xfrm rot="16200000">
              <a:off x="1070440" y="3635631"/>
              <a:ext cx="117455" cy="12677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25" name="직선 화살표 연결선 24"/>
            <p:cNvCxnSpPr/>
            <p:nvPr/>
          </p:nvCxnSpPr>
          <p:spPr>
            <a:xfrm flipV="1">
              <a:off x="477340" y="3166531"/>
              <a:ext cx="0" cy="1080000"/>
            </a:xfrm>
            <a:prstGeom prst="straightConnector1">
              <a:avLst/>
            </a:prstGeom>
            <a:ln w="12700">
              <a:solidFill>
                <a:schemeClr val="bg2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직선 화살표 연결선 45"/>
            <p:cNvCxnSpPr/>
            <p:nvPr/>
          </p:nvCxnSpPr>
          <p:spPr>
            <a:xfrm rot="5400000" flipV="1">
              <a:off x="1150739" y="3554064"/>
              <a:ext cx="0" cy="1368000"/>
            </a:xfrm>
            <a:prstGeom prst="straightConnector1">
              <a:avLst/>
            </a:prstGeom>
            <a:ln w="12700">
              <a:solidFill>
                <a:schemeClr val="bg2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직사각형 46"/>
            <p:cNvSpPr/>
            <p:nvPr/>
          </p:nvSpPr>
          <p:spPr>
            <a:xfrm>
              <a:off x="1887527" y="3131222"/>
              <a:ext cx="110884" cy="1168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8" name="직사각형 47"/>
            <p:cNvSpPr/>
            <p:nvPr/>
          </p:nvSpPr>
          <p:spPr>
            <a:xfrm rot="16200000">
              <a:off x="2542715" y="3635631"/>
              <a:ext cx="117455" cy="12677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49" name="직선 화살표 연결선 48"/>
            <p:cNvCxnSpPr/>
            <p:nvPr/>
          </p:nvCxnSpPr>
          <p:spPr>
            <a:xfrm flipV="1">
              <a:off x="1949615" y="3166531"/>
              <a:ext cx="0" cy="1080000"/>
            </a:xfrm>
            <a:prstGeom prst="straightConnector1">
              <a:avLst/>
            </a:prstGeom>
            <a:ln w="12700">
              <a:solidFill>
                <a:schemeClr val="bg2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직선 화살표 연결선 49"/>
            <p:cNvCxnSpPr/>
            <p:nvPr/>
          </p:nvCxnSpPr>
          <p:spPr>
            <a:xfrm rot="5400000" flipV="1">
              <a:off x="2623014" y="3554064"/>
              <a:ext cx="0" cy="1368000"/>
            </a:xfrm>
            <a:prstGeom prst="straightConnector1">
              <a:avLst/>
            </a:prstGeom>
            <a:ln w="12700">
              <a:solidFill>
                <a:schemeClr val="bg2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직사각형 50"/>
            <p:cNvSpPr/>
            <p:nvPr/>
          </p:nvSpPr>
          <p:spPr>
            <a:xfrm>
              <a:off x="3368408" y="3131222"/>
              <a:ext cx="110884" cy="1168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55" name="직사각형 54"/>
            <p:cNvSpPr/>
            <p:nvPr/>
          </p:nvSpPr>
          <p:spPr>
            <a:xfrm rot="16200000">
              <a:off x="4023596" y="3635631"/>
              <a:ext cx="117455" cy="12677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56" name="직선 화살표 연결선 55"/>
            <p:cNvCxnSpPr/>
            <p:nvPr/>
          </p:nvCxnSpPr>
          <p:spPr>
            <a:xfrm flipV="1">
              <a:off x="3430496" y="3166531"/>
              <a:ext cx="0" cy="1080000"/>
            </a:xfrm>
            <a:prstGeom prst="straightConnector1">
              <a:avLst/>
            </a:prstGeom>
            <a:ln w="12700">
              <a:solidFill>
                <a:schemeClr val="bg2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직선 화살표 연결선 58"/>
            <p:cNvCxnSpPr/>
            <p:nvPr/>
          </p:nvCxnSpPr>
          <p:spPr>
            <a:xfrm rot="5400000" flipV="1">
              <a:off x="4103895" y="3554064"/>
              <a:ext cx="0" cy="1368000"/>
            </a:xfrm>
            <a:prstGeom prst="straightConnector1">
              <a:avLst/>
            </a:prstGeom>
            <a:ln w="12700">
              <a:solidFill>
                <a:schemeClr val="bg2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직사각형 63"/>
            <p:cNvSpPr/>
            <p:nvPr/>
          </p:nvSpPr>
          <p:spPr>
            <a:xfrm>
              <a:off x="406785" y="4599674"/>
              <a:ext cx="110884" cy="1168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5" name="직사각형 64"/>
            <p:cNvSpPr/>
            <p:nvPr/>
          </p:nvSpPr>
          <p:spPr>
            <a:xfrm rot="16200000">
              <a:off x="1053506" y="5104083"/>
              <a:ext cx="117455" cy="12677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66" name="직선 화살표 연결선 65"/>
            <p:cNvCxnSpPr/>
            <p:nvPr/>
          </p:nvCxnSpPr>
          <p:spPr>
            <a:xfrm flipV="1">
              <a:off x="468873" y="4634983"/>
              <a:ext cx="0" cy="1080000"/>
            </a:xfrm>
            <a:prstGeom prst="straightConnector1">
              <a:avLst/>
            </a:prstGeom>
            <a:ln w="12700">
              <a:solidFill>
                <a:schemeClr val="bg2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직선 화살표 연결선 66"/>
            <p:cNvCxnSpPr/>
            <p:nvPr/>
          </p:nvCxnSpPr>
          <p:spPr>
            <a:xfrm rot="5400000" flipV="1">
              <a:off x="1142272" y="5022516"/>
              <a:ext cx="0" cy="1368000"/>
            </a:xfrm>
            <a:prstGeom prst="straightConnector1">
              <a:avLst/>
            </a:prstGeom>
            <a:ln w="12700">
              <a:solidFill>
                <a:schemeClr val="bg2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직사각형 67"/>
            <p:cNvSpPr/>
            <p:nvPr/>
          </p:nvSpPr>
          <p:spPr>
            <a:xfrm>
              <a:off x="1887527" y="4599674"/>
              <a:ext cx="110884" cy="1168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9" name="직사각형 68"/>
            <p:cNvSpPr/>
            <p:nvPr/>
          </p:nvSpPr>
          <p:spPr>
            <a:xfrm rot="16200000">
              <a:off x="2542715" y="5104083"/>
              <a:ext cx="117455" cy="12677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70" name="직선 화살표 연결선 69"/>
            <p:cNvCxnSpPr/>
            <p:nvPr/>
          </p:nvCxnSpPr>
          <p:spPr>
            <a:xfrm flipV="1">
              <a:off x="1949615" y="4634983"/>
              <a:ext cx="0" cy="1080000"/>
            </a:xfrm>
            <a:prstGeom prst="straightConnector1">
              <a:avLst/>
            </a:prstGeom>
            <a:ln w="12700">
              <a:solidFill>
                <a:schemeClr val="bg2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직선 화살표 연결선 70"/>
            <p:cNvCxnSpPr/>
            <p:nvPr/>
          </p:nvCxnSpPr>
          <p:spPr>
            <a:xfrm rot="5400000" flipV="1">
              <a:off x="2623014" y="5022516"/>
              <a:ext cx="0" cy="1368000"/>
            </a:xfrm>
            <a:prstGeom prst="straightConnector1">
              <a:avLst/>
            </a:prstGeom>
            <a:ln w="12700">
              <a:solidFill>
                <a:schemeClr val="bg2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직사각형 71"/>
            <p:cNvSpPr/>
            <p:nvPr/>
          </p:nvSpPr>
          <p:spPr>
            <a:xfrm>
              <a:off x="3367814" y="4599674"/>
              <a:ext cx="110884" cy="1168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3" name="직사각형 72"/>
            <p:cNvSpPr/>
            <p:nvPr/>
          </p:nvSpPr>
          <p:spPr>
            <a:xfrm rot="16200000">
              <a:off x="4023002" y="5104083"/>
              <a:ext cx="117455" cy="12677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74" name="직선 화살표 연결선 73"/>
            <p:cNvCxnSpPr/>
            <p:nvPr/>
          </p:nvCxnSpPr>
          <p:spPr>
            <a:xfrm flipV="1">
              <a:off x="3429902" y="4634983"/>
              <a:ext cx="0" cy="1080000"/>
            </a:xfrm>
            <a:prstGeom prst="straightConnector1">
              <a:avLst/>
            </a:prstGeom>
            <a:ln w="12700">
              <a:solidFill>
                <a:schemeClr val="bg2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직선 화살표 연결선 74"/>
            <p:cNvCxnSpPr/>
            <p:nvPr/>
          </p:nvCxnSpPr>
          <p:spPr>
            <a:xfrm rot="5400000" flipV="1">
              <a:off x="4103301" y="5022516"/>
              <a:ext cx="0" cy="1368000"/>
            </a:xfrm>
            <a:prstGeom prst="straightConnector1">
              <a:avLst/>
            </a:prstGeom>
            <a:ln w="12700">
              <a:solidFill>
                <a:schemeClr val="bg2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TextBox 25"/>
                <p:cNvSpPr txBox="1"/>
                <p:nvPr/>
              </p:nvSpPr>
              <p:spPr>
                <a:xfrm>
                  <a:off x="1121289" y="3869174"/>
                  <a:ext cx="624813" cy="2539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altLang="ko-KR" sz="1050" b="0" i="1" smtClean="0">
                          <a:latin typeface="Cambria Math" panose="02040503050406030204" pitchFamily="18" charset="0"/>
                        </a:rPr>
                        <m:t>𝑟</m:t>
                      </m:r>
                    </m:oMath>
                  </a14:m>
                  <a:r>
                    <a:rPr lang="en-US" altLang="ko-KR" sz="1050" dirty="0" smtClean="0"/>
                    <a:t> = 0.9</a:t>
                  </a:r>
                  <a:endParaRPr lang="ko-KR" altLang="en-US" sz="1050" dirty="0"/>
                </a:p>
              </p:txBody>
            </p:sp>
          </mc:Choice>
          <mc:Fallback xmlns="">
            <p:sp>
              <p:nvSpPr>
                <p:cNvPr id="26" name="TextBox 2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21289" y="3869174"/>
                  <a:ext cx="624813" cy="253916"/>
                </a:xfrm>
                <a:prstGeom prst="rect">
                  <a:avLst/>
                </a:prstGeom>
                <a:blipFill rotWithShape="0">
                  <a:blip r:embed="rId6"/>
                  <a:stretch>
                    <a:fillRect b="-17073"/>
                  </a:stretch>
                </a:blipFill>
              </p:spPr>
              <p:txBody>
                <a:bodyPr/>
                <a:lstStyle/>
                <a:p>
                  <a:r>
                    <a:rPr lang="ko-KR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6" name="TextBox 75"/>
                <p:cNvSpPr txBox="1"/>
                <p:nvPr/>
              </p:nvSpPr>
              <p:spPr>
                <a:xfrm>
                  <a:off x="2647137" y="3869174"/>
                  <a:ext cx="624813" cy="2539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altLang="ko-KR" sz="1050" b="0" i="1" smtClean="0">
                          <a:latin typeface="Cambria Math" panose="02040503050406030204" pitchFamily="18" charset="0"/>
                        </a:rPr>
                        <m:t>𝑟</m:t>
                      </m:r>
                    </m:oMath>
                  </a14:m>
                  <a:r>
                    <a:rPr lang="en-US" altLang="ko-KR" sz="1050" dirty="0" smtClean="0"/>
                    <a:t> = 0.3</a:t>
                  </a:r>
                  <a:endParaRPr lang="ko-KR" altLang="en-US" sz="1050" dirty="0"/>
                </a:p>
              </p:txBody>
            </p:sp>
          </mc:Choice>
          <mc:Fallback xmlns="">
            <p:sp>
              <p:nvSpPr>
                <p:cNvPr id="76" name="TextBox 7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47137" y="3869174"/>
                  <a:ext cx="624813" cy="253916"/>
                </a:xfrm>
                <a:prstGeom prst="rect">
                  <a:avLst/>
                </a:prstGeom>
                <a:blipFill rotWithShape="0">
                  <a:blip r:embed="rId7"/>
                  <a:stretch>
                    <a:fillRect b="-17073"/>
                  </a:stretch>
                </a:blipFill>
              </p:spPr>
              <p:txBody>
                <a:bodyPr/>
                <a:lstStyle/>
                <a:p>
                  <a:r>
                    <a:rPr lang="ko-KR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7" name="TextBox 76"/>
                <p:cNvSpPr txBox="1"/>
                <p:nvPr/>
              </p:nvSpPr>
              <p:spPr>
                <a:xfrm>
                  <a:off x="3520272" y="3869174"/>
                  <a:ext cx="624813" cy="2539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altLang="ko-KR" sz="1050" b="0" i="1" smtClean="0">
                          <a:latin typeface="Cambria Math" panose="02040503050406030204" pitchFamily="18" charset="0"/>
                        </a:rPr>
                        <m:t>𝑟</m:t>
                      </m:r>
                    </m:oMath>
                  </a14:m>
                  <a:r>
                    <a:rPr lang="en-US" altLang="ko-KR" sz="1050" dirty="0" smtClean="0"/>
                    <a:t> = -0.9</a:t>
                  </a:r>
                  <a:endParaRPr lang="ko-KR" altLang="en-US" sz="1050" dirty="0"/>
                </a:p>
              </p:txBody>
            </p:sp>
          </mc:Choice>
          <mc:Fallback xmlns="">
            <p:sp>
              <p:nvSpPr>
                <p:cNvPr id="77" name="TextBox 7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20272" y="3869174"/>
                  <a:ext cx="624813" cy="253916"/>
                </a:xfrm>
                <a:prstGeom prst="rect">
                  <a:avLst/>
                </a:prstGeom>
                <a:blipFill rotWithShape="0">
                  <a:blip r:embed="rId8"/>
                  <a:stretch>
                    <a:fillRect b="-17073"/>
                  </a:stretch>
                </a:blipFill>
              </p:spPr>
              <p:txBody>
                <a:bodyPr/>
                <a:lstStyle/>
                <a:p>
                  <a:r>
                    <a:rPr lang="ko-KR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8" name="TextBox 77"/>
                <p:cNvSpPr txBox="1"/>
                <p:nvPr/>
              </p:nvSpPr>
              <p:spPr>
                <a:xfrm>
                  <a:off x="1121289" y="4791027"/>
                  <a:ext cx="624813" cy="2539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altLang="ko-KR" sz="1050" b="0" i="1" smtClean="0">
                          <a:latin typeface="Cambria Math" panose="02040503050406030204" pitchFamily="18" charset="0"/>
                        </a:rPr>
                        <m:t>𝑟</m:t>
                      </m:r>
                    </m:oMath>
                  </a14:m>
                  <a:r>
                    <a:rPr lang="en-US" altLang="ko-KR" sz="1050" dirty="0" smtClean="0"/>
                    <a:t> = -0.3</a:t>
                  </a:r>
                  <a:endParaRPr lang="ko-KR" altLang="en-US" sz="1050" dirty="0"/>
                </a:p>
              </p:txBody>
            </p:sp>
          </mc:Choice>
          <mc:Fallback xmlns="">
            <p:sp>
              <p:nvSpPr>
                <p:cNvPr id="78" name="TextBox 7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21289" y="4791027"/>
                  <a:ext cx="624813" cy="253916"/>
                </a:xfrm>
                <a:prstGeom prst="rect">
                  <a:avLst/>
                </a:prstGeom>
                <a:blipFill rotWithShape="0">
                  <a:blip r:embed="rId9"/>
                  <a:stretch>
                    <a:fillRect b="-14286"/>
                  </a:stretch>
                </a:blipFill>
              </p:spPr>
              <p:txBody>
                <a:bodyPr/>
                <a:lstStyle/>
                <a:p>
                  <a:r>
                    <a:rPr lang="ko-KR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9" name="TextBox 78"/>
                <p:cNvSpPr txBox="1"/>
                <p:nvPr/>
              </p:nvSpPr>
              <p:spPr>
                <a:xfrm>
                  <a:off x="2647137" y="4791027"/>
                  <a:ext cx="624813" cy="2539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altLang="ko-KR" sz="1050" b="0" i="1" smtClean="0">
                          <a:latin typeface="Cambria Math" panose="02040503050406030204" pitchFamily="18" charset="0"/>
                        </a:rPr>
                        <m:t>𝑟</m:t>
                      </m:r>
                    </m:oMath>
                  </a14:m>
                  <a:r>
                    <a:rPr lang="en-US" altLang="ko-KR" sz="1050" dirty="0" smtClean="0"/>
                    <a:t> = -0.7</a:t>
                  </a:r>
                  <a:endParaRPr lang="ko-KR" altLang="en-US" sz="1050" dirty="0"/>
                </a:p>
              </p:txBody>
            </p:sp>
          </mc:Choice>
          <mc:Fallback xmlns="">
            <p:sp>
              <p:nvSpPr>
                <p:cNvPr id="79" name="TextBox 7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47137" y="4791027"/>
                  <a:ext cx="624813" cy="253916"/>
                </a:xfrm>
                <a:prstGeom prst="rect">
                  <a:avLst/>
                </a:prstGeom>
                <a:blipFill rotWithShape="0">
                  <a:blip r:embed="rId10"/>
                  <a:stretch>
                    <a:fillRect b="-14286"/>
                  </a:stretch>
                </a:blipFill>
              </p:spPr>
              <p:txBody>
                <a:bodyPr/>
                <a:lstStyle/>
                <a:p>
                  <a:r>
                    <a:rPr lang="ko-KR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0" name="TextBox 79"/>
                <p:cNvSpPr txBox="1"/>
                <p:nvPr/>
              </p:nvSpPr>
              <p:spPr>
                <a:xfrm>
                  <a:off x="3520272" y="4791027"/>
                  <a:ext cx="624813" cy="2539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r>
                        <a:rPr lang="en-US" altLang="ko-KR" sz="1050" b="0" i="1" smtClean="0">
                          <a:latin typeface="Cambria Math" panose="02040503050406030204" pitchFamily="18" charset="0"/>
                        </a:rPr>
                        <m:t>𝑟</m:t>
                      </m:r>
                    </m:oMath>
                  </a14:m>
                  <a:r>
                    <a:rPr lang="en-US" altLang="ko-KR" sz="1050" dirty="0" smtClean="0"/>
                    <a:t> = 0</a:t>
                  </a:r>
                  <a:endParaRPr lang="ko-KR" altLang="en-US" sz="1050" dirty="0"/>
                </a:p>
              </p:txBody>
            </p:sp>
          </mc:Choice>
          <mc:Fallback xmlns="">
            <p:sp>
              <p:nvSpPr>
                <p:cNvPr id="80" name="TextBox 7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20272" y="4791027"/>
                  <a:ext cx="624813" cy="253916"/>
                </a:xfrm>
                <a:prstGeom prst="rect">
                  <a:avLst/>
                </a:prstGeom>
                <a:blipFill rotWithShape="0">
                  <a:blip r:embed="rId11"/>
                  <a:stretch>
                    <a:fillRect b="-14286"/>
                  </a:stretch>
                </a:blipFill>
              </p:spPr>
              <p:txBody>
                <a:bodyPr/>
                <a:lstStyle/>
                <a:p>
                  <a:r>
                    <a:rPr lang="ko-KR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60" name="왼쪽 중괄호 59"/>
          <p:cNvSpPr/>
          <p:nvPr/>
        </p:nvSpPr>
        <p:spPr>
          <a:xfrm rot="16200000">
            <a:off x="4781204" y="-1516676"/>
            <a:ext cx="233083" cy="6188924"/>
          </a:xfrm>
          <a:prstGeom prst="leftBrac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1" name="직사각형 60"/>
          <p:cNvSpPr/>
          <p:nvPr/>
        </p:nvSpPr>
        <p:spPr>
          <a:xfrm>
            <a:off x="3357506" y="1766192"/>
            <a:ext cx="3463705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ko-KR" altLang="en-US" sz="1300" b="1" dirty="0">
                <a:solidFill>
                  <a:prstClr val="black"/>
                </a:solidFill>
                <a:cs typeface="Arial"/>
              </a:rPr>
              <a:t>데이터 탐색적 </a:t>
            </a:r>
            <a:r>
              <a:rPr kumimoji="1" lang="ko-KR" altLang="en-US" sz="1300" b="1" smtClean="0">
                <a:solidFill>
                  <a:prstClr val="black"/>
                </a:solidFill>
                <a:cs typeface="Arial"/>
              </a:rPr>
              <a:t>분석</a:t>
            </a:r>
            <a:r>
              <a:rPr kumimoji="1" lang="en-US" altLang="ko-KR" sz="1300" b="1" dirty="0" smtClean="0">
                <a:solidFill>
                  <a:prstClr val="black"/>
                </a:solidFill>
                <a:cs typeface="Arial"/>
              </a:rPr>
              <a:t>(Exploratory Data Analysis)</a:t>
            </a:r>
            <a:endParaRPr kumimoji="1" lang="ko-KR" altLang="en-US" sz="1300" b="1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63" name="AutoShape 120"/>
          <p:cNvSpPr>
            <a:spLocks noChangeArrowheads="1"/>
          </p:cNvSpPr>
          <p:nvPr/>
        </p:nvSpPr>
        <p:spPr bwMode="gray">
          <a:xfrm>
            <a:off x="1788149" y="839442"/>
            <a:ext cx="1683292" cy="517330"/>
          </a:xfrm>
          <a:prstGeom prst="chevron">
            <a:avLst>
              <a:gd name="adj" fmla="val 31331"/>
            </a:avLst>
          </a:prstGeom>
          <a:gradFill rotWithShape="0">
            <a:gsLst>
              <a:gs pos="0">
                <a:srgbClr val="C0C0C0"/>
              </a:gs>
              <a:gs pos="50000">
                <a:srgbClr val="F6F6F6"/>
              </a:gs>
              <a:gs pos="100000">
                <a:srgbClr val="C0C0C0"/>
              </a:gs>
            </a:gsLst>
            <a:lin ang="5400000" scaled="1"/>
          </a:gra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8398" dir="3806097" algn="ctr" rotWithShape="0">
              <a:srgbClr val="000000"/>
            </a:outerShdw>
          </a:effectLst>
        </p:spPr>
        <p:txBody>
          <a:bodyPr lIns="0" tIns="0" rIns="0" bIns="0" anchor="ctr"/>
          <a:lstStyle/>
          <a:p>
            <a:pPr algn="ctr" latinLnBrk="0">
              <a:spcBef>
                <a:spcPts val="400"/>
              </a:spcBef>
              <a:defRPr/>
            </a:pPr>
            <a:r>
              <a:rPr lang="ko-KR" altLang="en-US" sz="1050" b="1" kern="0" dirty="0" smtClean="0">
                <a:solidFill>
                  <a:srgbClr val="000000"/>
                </a:solidFill>
                <a:latin typeface="맑은 고딕"/>
                <a:cs typeface="Arial"/>
              </a:rPr>
              <a:t>기초통계분석</a:t>
            </a:r>
            <a:endParaRPr lang="en-US" altLang="ko-KR" sz="1050" b="1" kern="0" dirty="0" smtClean="0">
              <a:solidFill>
                <a:srgbClr val="000000"/>
              </a:solidFill>
              <a:latin typeface="맑은 고딕"/>
              <a:cs typeface="Arial"/>
            </a:endParaRPr>
          </a:p>
        </p:txBody>
      </p:sp>
      <p:sp>
        <p:nvSpPr>
          <p:cNvPr id="81" name="AutoShape 120"/>
          <p:cNvSpPr>
            <a:spLocks noChangeArrowheads="1"/>
          </p:cNvSpPr>
          <p:nvPr/>
        </p:nvSpPr>
        <p:spPr bwMode="gray">
          <a:xfrm>
            <a:off x="3353560" y="839442"/>
            <a:ext cx="1683292" cy="517330"/>
          </a:xfrm>
          <a:prstGeom prst="chevron">
            <a:avLst>
              <a:gd name="adj" fmla="val 31331"/>
            </a:avLst>
          </a:prstGeom>
          <a:gradFill rotWithShape="0">
            <a:gsLst>
              <a:gs pos="0">
                <a:schemeClr val="accent4"/>
              </a:gs>
              <a:gs pos="50000">
                <a:srgbClr val="F6F6F6"/>
              </a:gs>
              <a:gs pos="100000">
                <a:schemeClr val="accent4"/>
              </a:gs>
            </a:gsLst>
            <a:lin ang="5400000" scaled="1"/>
          </a:gra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8398" dir="3806097" algn="ctr" rotWithShape="0">
              <a:srgbClr val="000000"/>
            </a:outerShdw>
          </a:effectLst>
        </p:spPr>
        <p:txBody>
          <a:bodyPr lIns="0" tIns="0" rIns="0" bIns="0" anchor="ctr"/>
          <a:lstStyle/>
          <a:p>
            <a:pPr algn="ctr" latinLnBrk="0">
              <a:spcBef>
                <a:spcPts val="400"/>
              </a:spcBef>
            </a:pPr>
            <a:r>
              <a:rPr lang="en-US" altLang="ko-KR" sz="1050" b="1" kern="0" dirty="0">
                <a:solidFill>
                  <a:srgbClr val="000000"/>
                </a:solidFill>
                <a:latin typeface="맑은 고딕"/>
                <a:cs typeface="Arial"/>
              </a:rPr>
              <a:t>X</a:t>
            </a:r>
            <a:r>
              <a:rPr lang="ko-KR" altLang="en-US" sz="1050" b="1" kern="0">
                <a:solidFill>
                  <a:srgbClr val="000000"/>
                </a:solidFill>
                <a:latin typeface="맑은 고딕"/>
                <a:cs typeface="Arial"/>
              </a:rPr>
              <a:t>인자간의 </a:t>
            </a:r>
            <a:endParaRPr lang="en-US" altLang="ko-KR" sz="1050" b="1" kern="0" dirty="0">
              <a:solidFill>
                <a:srgbClr val="000000"/>
              </a:solidFill>
              <a:latin typeface="맑은 고딕"/>
              <a:cs typeface="Arial"/>
            </a:endParaRPr>
          </a:p>
          <a:p>
            <a:pPr algn="ctr" latinLnBrk="0">
              <a:spcBef>
                <a:spcPts val="400"/>
              </a:spcBef>
            </a:pPr>
            <a:r>
              <a:rPr lang="ko-KR" altLang="en-US" sz="1050" b="1" kern="0" dirty="0">
                <a:solidFill>
                  <a:srgbClr val="000000"/>
                </a:solidFill>
                <a:latin typeface="맑은 고딕"/>
                <a:cs typeface="Arial"/>
              </a:rPr>
              <a:t>상관 분석</a:t>
            </a:r>
            <a:endParaRPr lang="en-US" altLang="ko-KR" sz="1050" b="1" kern="0" dirty="0">
              <a:solidFill>
                <a:srgbClr val="000000"/>
              </a:solidFill>
              <a:latin typeface="맑은 고딕"/>
              <a:cs typeface="Arial"/>
            </a:endParaRPr>
          </a:p>
        </p:txBody>
      </p:sp>
      <p:sp>
        <p:nvSpPr>
          <p:cNvPr id="82" name="AutoShape 120"/>
          <p:cNvSpPr>
            <a:spLocks noChangeArrowheads="1"/>
          </p:cNvSpPr>
          <p:nvPr/>
        </p:nvSpPr>
        <p:spPr bwMode="gray">
          <a:xfrm>
            <a:off x="4918971" y="839442"/>
            <a:ext cx="1683292" cy="517330"/>
          </a:xfrm>
          <a:prstGeom prst="chevron">
            <a:avLst>
              <a:gd name="adj" fmla="val 31331"/>
            </a:avLst>
          </a:prstGeom>
          <a:gradFill rotWithShape="0">
            <a:gsLst>
              <a:gs pos="0">
                <a:srgbClr val="C0C0C0"/>
              </a:gs>
              <a:gs pos="50000">
                <a:srgbClr val="F6F6F6"/>
              </a:gs>
              <a:gs pos="100000">
                <a:srgbClr val="C0C0C0"/>
              </a:gs>
            </a:gsLst>
            <a:lin ang="5400000" scaled="1"/>
          </a:gra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8398" dir="3806097" algn="ctr" rotWithShape="0">
              <a:srgbClr val="000000"/>
            </a:outerShdw>
          </a:effectLst>
        </p:spPr>
        <p:txBody>
          <a:bodyPr lIns="0" tIns="0" rIns="0" bIns="0" anchor="ctr"/>
          <a:lstStyle/>
          <a:p>
            <a:pPr algn="ctr" latinLnBrk="0">
              <a:spcBef>
                <a:spcPts val="400"/>
              </a:spcBef>
            </a:pPr>
            <a:r>
              <a:rPr lang="ko-KR" altLang="en-US" sz="1050" b="1" kern="0" dirty="0" err="1">
                <a:solidFill>
                  <a:srgbClr val="000000"/>
                </a:solidFill>
                <a:latin typeface="맑은 고딕"/>
                <a:cs typeface="Arial"/>
              </a:rPr>
              <a:t>시계열</a:t>
            </a:r>
            <a:r>
              <a:rPr lang="ko-KR" altLang="en-US" sz="1050" b="1" kern="0" dirty="0">
                <a:solidFill>
                  <a:srgbClr val="000000"/>
                </a:solidFill>
                <a:latin typeface="맑은 고딕"/>
                <a:cs typeface="Arial"/>
              </a:rPr>
              <a:t> 분석</a:t>
            </a:r>
            <a:endParaRPr lang="en-US" altLang="ko-KR" sz="1050" b="1" kern="0" dirty="0">
              <a:solidFill>
                <a:srgbClr val="000000"/>
              </a:solidFill>
              <a:latin typeface="맑은 고딕"/>
              <a:cs typeface="Arial"/>
            </a:endParaRPr>
          </a:p>
        </p:txBody>
      </p:sp>
      <p:sp>
        <p:nvSpPr>
          <p:cNvPr id="83" name="AutoShape 120"/>
          <p:cNvSpPr>
            <a:spLocks noChangeArrowheads="1"/>
          </p:cNvSpPr>
          <p:nvPr/>
        </p:nvSpPr>
        <p:spPr bwMode="gray">
          <a:xfrm>
            <a:off x="222738" y="839442"/>
            <a:ext cx="1683292" cy="517330"/>
          </a:xfrm>
          <a:prstGeom prst="chevron">
            <a:avLst>
              <a:gd name="adj" fmla="val 31331"/>
            </a:avLst>
          </a:prstGeom>
          <a:gradFill rotWithShape="0">
            <a:gsLst>
              <a:gs pos="0">
                <a:srgbClr val="C0C0C0"/>
              </a:gs>
              <a:gs pos="50000">
                <a:srgbClr val="F6F6F6"/>
              </a:gs>
              <a:gs pos="100000">
                <a:srgbClr val="C0C0C0"/>
              </a:gs>
            </a:gsLst>
            <a:lin ang="5400000" scaled="1"/>
          </a:gradFill>
          <a:ln w="9525" algn="ctr">
            <a:solidFill>
              <a:srgbClr val="000000"/>
            </a:solidFill>
            <a:prstDash val="lgDash"/>
            <a:miter lim="800000"/>
            <a:headEnd/>
            <a:tailEnd/>
          </a:ln>
          <a:effectLst>
            <a:outerShdw dist="28398" dir="3806097" algn="ctr" rotWithShape="0">
              <a:srgbClr val="000000"/>
            </a:outerShdw>
          </a:effectLst>
        </p:spPr>
        <p:txBody>
          <a:bodyPr lIns="0" tIns="0" rIns="0" bIns="0" anchor="ctr"/>
          <a:lstStyle/>
          <a:p>
            <a:pPr algn="ctr" latinLnBrk="0">
              <a:spcBef>
                <a:spcPts val="400"/>
              </a:spcBef>
              <a:defRPr/>
            </a:pPr>
            <a:r>
              <a:rPr lang="ko-KR" altLang="en-US" sz="1050" b="1" kern="0" dirty="0" smtClean="0">
                <a:solidFill>
                  <a:srgbClr val="000000"/>
                </a:solidFill>
                <a:latin typeface="맑은 고딕"/>
                <a:cs typeface="Arial"/>
              </a:rPr>
              <a:t>데이터 </a:t>
            </a:r>
            <a:r>
              <a:rPr lang="ko-KR" altLang="en-US" sz="1050" b="1" kern="0" dirty="0" err="1" smtClean="0">
                <a:solidFill>
                  <a:srgbClr val="000000"/>
                </a:solidFill>
                <a:latin typeface="맑은 고딕"/>
                <a:cs typeface="Arial"/>
              </a:rPr>
              <a:t>마트</a:t>
            </a:r>
            <a:r>
              <a:rPr lang="ko-KR" altLang="en-US" sz="1050" b="1" kern="0" dirty="0" smtClean="0">
                <a:solidFill>
                  <a:srgbClr val="000000"/>
                </a:solidFill>
                <a:latin typeface="맑은 고딕"/>
                <a:cs typeface="Arial"/>
              </a:rPr>
              <a:t> 구축</a:t>
            </a:r>
            <a:endParaRPr lang="en-US" altLang="ko-KR" sz="1050" b="1" kern="0" dirty="0" smtClean="0">
              <a:solidFill>
                <a:srgbClr val="000000"/>
              </a:solidFill>
              <a:latin typeface="맑은 고딕"/>
              <a:cs typeface="Arial"/>
            </a:endParaRPr>
          </a:p>
        </p:txBody>
      </p:sp>
      <p:sp>
        <p:nvSpPr>
          <p:cNvPr id="84" name="AutoShape 120"/>
          <p:cNvSpPr>
            <a:spLocks noChangeArrowheads="1"/>
          </p:cNvSpPr>
          <p:nvPr/>
        </p:nvSpPr>
        <p:spPr bwMode="gray">
          <a:xfrm>
            <a:off x="8049793" y="839442"/>
            <a:ext cx="1683292" cy="517330"/>
          </a:xfrm>
          <a:prstGeom prst="chevron">
            <a:avLst>
              <a:gd name="adj" fmla="val 31331"/>
            </a:avLst>
          </a:prstGeom>
          <a:gradFill rotWithShape="0">
            <a:gsLst>
              <a:gs pos="0">
                <a:srgbClr val="C0C0C0"/>
              </a:gs>
              <a:gs pos="50000">
                <a:srgbClr val="F6F6F6"/>
              </a:gs>
              <a:gs pos="100000">
                <a:srgbClr val="C0C0C0"/>
              </a:gs>
            </a:gsLst>
            <a:lin ang="5400000" scaled="1"/>
          </a:gradFill>
          <a:ln w="9525" algn="ctr">
            <a:solidFill>
              <a:srgbClr val="000000"/>
            </a:solidFill>
            <a:prstDash val="lgDash"/>
            <a:miter lim="800000"/>
            <a:headEnd/>
            <a:tailEnd/>
          </a:ln>
          <a:effectLst>
            <a:outerShdw dist="28398" dir="3806097" algn="ctr" rotWithShape="0">
              <a:srgbClr val="000000"/>
            </a:outerShdw>
          </a:effectLst>
        </p:spPr>
        <p:txBody>
          <a:bodyPr lIns="0" tIns="0" rIns="0" bIns="0" anchor="ctr"/>
          <a:lstStyle/>
          <a:p>
            <a:pPr algn="ctr" latinLnBrk="0">
              <a:spcBef>
                <a:spcPts val="400"/>
              </a:spcBef>
            </a:pPr>
            <a:r>
              <a:rPr lang="ko-KR" altLang="en-US" sz="1050" b="1" kern="0" dirty="0">
                <a:solidFill>
                  <a:srgbClr val="000000"/>
                </a:solidFill>
                <a:latin typeface="맑은 고딕"/>
                <a:cs typeface="Arial"/>
              </a:rPr>
              <a:t>예측 모델 개발</a:t>
            </a:r>
            <a:endParaRPr lang="en-US" altLang="ko-KR" sz="1050" b="1" kern="0" dirty="0">
              <a:solidFill>
                <a:srgbClr val="000000"/>
              </a:solidFill>
              <a:latin typeface="맑은 고딕"/>
              <a:cs typeface="Arial"/>
            </a:endParaRPr>
          </a:p>
        </p:txBody>
      </p:sp>
      <p:sp>
        <p:nvSpPr>
          <p:cNvPr id="85" name="AutoShape 120"/>
          <p:cNvSpPr>
            <a:spLocks noChangeArrowheads="1"/>
          </p:cNvSpPr>
          <p:nvPr/>
        </p:nvSpPr>
        <p:spPr bwMode="gray">
          <a:xfrm>
            <a:off x="6484381" y="839442"/>
            <a:ext cx="1683292" cy="517330"/>
          </a:xfrm>
          <a:prstGeom prst="chevron">
            <a:avLst>
              <a:gd name="adj" fmla="val 31331"/>
            </a:avLst>
          </a:prstGeom>
          <a:gradFill rotWithShape="0">
            <a:gsLst>
              <a:gs pos="0">
                <a:srgbClr val="C0C0C0"/>
              </a:gs>
              <a:gs pos="50000">
                <a:srgbClr val="F6F6F6"/>
              </a:gs>
              <a:gs pos="100000">
                <a:srgbClr val="C0C0C0"/>
              </a:gs>
            </a:gsLst>
            <a:lin ang="5400000" scaled="1"/>
          </a:gra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28398" dir="3806097" algn="ctr" rotWithShape="0">
              <a:srgbClr val="000000"/>
            </a:outerShdw>
          </a:effectLst>
        </p:spPr>
        <p:txBody>
          <a:bodyPr lIns="0" tIns="0" rIns="0" bIns="0" anchor="ctr"/>
          <a:lstStyle/>
          <a:p>
            <a:pPr algn="ctr" latinLnBrk="0">
              <a:spcBef>
                <a:spcPts val="400"/>
              </a:spcBef>
            </a:pPr>
            <a:r>
              <a:rPr lang="en-US" altLang="ko-KR" sz="1050" b="1" kern="0" dirty="0" smtClean="0">
                <a:solidFill>
                  <a:srgbClr val="000000"/>
                </a:solidFill>
                <a:latin typeface="맑은 고딕"/>
                <a:cs typeface="Arial"/>
              </a:rPr>
              <a:t>X</a:t>
            </a:r>
            <a:r>
              <a:rPr lang="ko-KR" altLang="en-US" sz="1050" b="1" kern="0" smtClean="0">
                <a:solidFill>
                  <a:srgbClr val="000000"/>
                </a:solidFill>
                <a:latin typeface="맑은 고딕"/>
                <a:cs typeface="Arial"/>
              </a:rPr>
              <a:t>인자와 </a:t>
            </a:r>
            <a:r>
              <a:rPr lang="en-US" altLang="ko-KR" sz="1050" b="1" kern="0" dirty="0" smtClean="0">
                <a:solidFill>
                  <a:srgbClr val="000000"/>
                </a:solidFill>
                <a:latin typeface="맑은 고딕"/>
                <a:cs typeface="Arial"/>
              </a:rPr>
              <a:t>Y</a:t>
            </a:r>
            <a:r>
              <a:rPr lang="ko-KR" altLang="en-US" sz="1050" b="1" kern="0" smtClean="0">
                <a:solidFill>
                  <a:srgbClr val="000000"/>
                </a:solidFill>
                <a:latin typeface="맑은 고딕"/>
                <a:cs typeface="Arial"/>
              </a:rPr>
              <a:t>인자간의 </a:t>
            </a:r>
            <a:endParaRPr lang="en-US" altLang="ko-KR" sz="1050" b="1" kern="0" dirty="0" smtClean="0">
              <a:solidFill>
                <a:srgbClr val="000000"/>
              </a:solidFill>
              <a:latin typeface="맑은 고딕"/>
              <a:cs typeface="Arial"/>
            </a:endParaRPr>
          </a:p>
          <a:p>
            <a:pPr algn="ctr" latinLnBrk="0">
              <a:spcBef>
                <a:spcPts val="400"/>
              </a:spcBef>
            </a:pPr>
            <a:r>
              <a:rPr lang="ko-KR" altLang="en-US" sz="1050" b="1" kern="0" dirty="0" smtClean="0">
                <a:solidFill>
                  <a:srgbClr val="000000"/>
                </a:solidFill>
                <a:latin typeface="맑은 고딕"/>
                <a:cs typeface="Arial"/>
              </a:rPr>
              <a:t>상관 분석</a:t>
            </a:r>
            <a:endParaRPr lang="en-US" altLang="ko-KR" sz="1050" kern="0" dirty="0" smtClean="0">
              <a:solidFill>
                <a:srgbClr val="000000"/>
              </a:solidFill>
              <a:latin typeface="맑은 고딕"/>
              <a:cs typeface="Arial"/>
            </a:endParaRPr>
          </a:p>
        </p:txBody>
      </p:sp>
      <p:sp>
        <p:nvSpPr>
          <p:cNvPr id="86" name="직사각형 85">
            <a:hlinkClick r:id="rId12" action="ppaction://hlinksldjump"/>
          </p:cNvPr>
          <p:cNvSpPr/>
          <p:nvPr/>
        </p:nvSpPr>
        <p:spPr>
          <a:xfrm>
            <a:off x="9023838" y="284285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smtClean="0">
                <a:solidFill>
                  <a:schemeClr val="tx1"/>
                </a:solidFill>
              </a:rPr>
              <a:t>돌아가기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345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>
                <a:latin typeface="+mj-ea"/>
              </a:rPr>
              <a:t>[</a:t>
            </a:r>
            <a:r>
              <a:rPr lang="ko-KR" altLang="en-US">
                <a:latin typeface="+mj-ea"/>
              </a:rPr>
              <a:t>참고</a:t>
            </a:r>
            <a:r>
              <a:rPr lang="en-US" altLang="ko-KR" dirty="0">
                <a:latin typeface="+mj-ea"/>
              </a:rPr>
              <a:t>] </a:t>
            </a:r>
            <a:r>
              <a:rPr lang="ko-KR" altLang="en-US">
                <a:latin typeface="+mj-ea"/>
              </a:rPr>
              <a:t>데이터 탐색적 분석 </a:t>
            </a:r>
            <a:r>
              <a:rPr lang="en-US" altLang="ko-KR" dirty="0" smtClean="0">
                <a:latin typeface="+mj-ea"/>
              </a:rPr>
              <a:t>– </a:t>
            </a:r>
            <a:r>
              <a:rPr kumimoji="1" lang="ko-KR" altLang="en-US" smtClean="0">
                <a:solidFill>
                  <a:prstClr val="black"/>
                </a:solidFill>
                <a:cs typeface="Arial"/>
              </a:rPr>
              <a:t>시계열 분석</a:t>
            </a:r>
            <a:endParaRPr lang="ko-KR" altLang="en-US">
              <a:latin typeface="+mj-e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32186" y="2169029"/>
            <a:ext cx="2929579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indent="-180975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ko-KR" altLang="en-US" sz="1300" b="1" dirty="0" err="1" smtClean="0">
                <a:solidFill>
                  <a:prstClr val="black"/>
                </a:solidFill>
                <a:cs typeface="Arial"/>
              </a:rPr>
              <a:t>시계열</a:t>
            </a:r>
            <a:r>
              <a:rPr kumimoji="1" lang="ko-KR" altLang="en-US" sz="1300" b="1" dirty="0" smtClean="0">
                <a:solidFill>
                  <a:prstClr val="black"/>
                </a:solidFill>
                <a:cs typeface="Arial"/>
              </a:rPr>
              <a:t> 분석</a:t>
            </a:r>
            <a:endParaRPr kumimoji="1" lang="ko-KR" altLang="en-US" sz="1300" b="1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6" name="왼쪽 중괄호 5"/>
          <p:cNvSpPr/>
          <p:nvPr/>
        </p:nvSpPr>
        <p:spPr>
          <a:xfrm rot="16200000">
            <a:off x="4781204" y="-1516676"/>
            <a:ext cx="233083" cy="6188924"/>
          </a:xfrm>
          <a:prstGeom prst="leftBrac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" name="직사각형 6"/>
          <p:cNvSpPr/>
          <p:nvPr/>
        </p:nvSpPr>
        <p:spPr>
          <a:xfrm>
            <a:off x="3357506" y="1766192"/>
            <a:ext cx="3463705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ko-KR" altLang="en-US" sz="1300" b="1" dirty="0">
                <a:solidFill>
                  <a:prstClr val="black"/>
                </a:solidFill>
                <a:cs typeface="Arial"/>
              </a:rPr>
              <a:t>데이터 탐색적 </a:t>
            </a:r>
            <a:r>
              <a:rPr kumimoji="1" lang="ko-KR" altLang="en-US" sz="1300" b="1" smtClean="0">
                <a:solidFill>
                  <a:prstClr val="black"/>
                </a:solidFill>
                <a:cs typeface="Arial"/>
              </a:rPr>
              <a:t>분석</a:t>
            </a:r>
            <a:r>
              <a:rPr kumimoji="1" lang="en-US" altLang="ko-KR" sz="1300" b="1" dirty="0" smtClean="0">
                <a:solidFill>
                  <a:prstClr val="black"/>
                </a:solidFill>
                <a:cs typeface="Arial"/>
              </a:rPr>
              <a:t>(Exploratory Data Analysis)</a:t>
            </a:r>
            <a:endParaRPr kumimoji="1" lang="ko-KR" altLang="en-US" sz="1300" b="1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007117" y="2169029"/>
            <a:ext cx="2929579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indent="-180975" fontAlgn="base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1" lang="ko-KR" altLang="en-US" sz="1300" b="1" dirty="0" err="1">
                <a:solidFill>
                  <a:prstClr val="black"/>
                </a:solidFill>
                <a:cs typeface="Arial"/>
              </a:rPr>
              <a:t>시계열</a:t>
            </a:r>
            <a:r>
              <a:rPr kumimoji="1" lang="ko-KR" altLang="en-US" sz="1300" b="1" dirty="0">
                <a:solidFill>
                  <a:prstClr val="black"/>
                </a:solidFill>
                <a:cs typeface="Arial"/>
              </a:rPr>
              <a:t> </a:t>
            </a:r>
            <a:r>
              <a:rPr kumimoji="1" lang="ko-KR" altLang="en-US" sz="1300" b="1" dirty="0" smtClean="0">
                <a:solidFill>
                  <a:prstClr val="black"/>
                </a:solidFill>
                <a:cs typeface="Arial"/>
              </a:rPr>
              <a:t>시각화 방법</a:t>
            </a:r>
            <a:endParaRPr kumimoji="1" lang="ko-KR" altLang="en-US" sz="1300" b="1" dirty="0">
              <a:solidFill>
                <a:prstClr val="black"/>
              </a:solidFill>
              <a:cs typeface="Arial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222738" y="839442"/>
            <a:ext cx="9510347" cy="517330"/>
            <a:chOff x="495300" y="839442"/>
            <a:chExt cx="10846605" cy="517330"/>
          </a:xfrm>
        </p:grpSpPr>
        <p:sp>
          <p:nvSpPr>
            <p:cNvPr id="27" name="AutoShape 120"/>
            <p:cNvSpPr>
              <a:spLocks noChangeArrowheads="1"/>
            </p:cNvSpPr>
            <p:nvPr/>
          </p:nvSpPr>
          <p:spPr bwMode="gray">
            <a:xfrm>
              <a:off x="2280660" y="839442"/>
              <a:ext cx="1919804" cy="517330"/>
            </a:xfrm>
            <a:prstGeom prst="chevron">
              <a:avLst>
                <a:gd name="adj" fmla="val 31331"/>
              </a:avLst>
            </a:prstGeom>
            <a:gradFill rotWithShape="0">
              <a:gsLst>
                <a:gs pos="0">
                  <a:srgbClr val="C0C0C0"/>
                </a:gs>
                <a:gs pos="50000">
                  <a:srgbClr val="F6F6F6"/>
                </a:gs>
                <a:gs pos="100000">
                  <a:srgbClr val="C0C0C0"/>
                </a:gs>
              </a:gsLst>
              <a:lin ang="5400000" scaled="1"/>
            </a:gra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28398" dir="3806097" algn="ctr" rotWithShape="0">
                <a:srgbClr val="000000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spcBef>
                  <a:spcPts val="400"/>
                </a:spcBef>
                <a:defRPr/>
              </a:pPr>
              <a:r>
                <a:rPr lang="ko-KR" altLang="en-US" sz="1050" b="1" kern="0" dirty="0" smtClean="0">
                  <a:solidFill>
                    <a:srgbClr val="000000"/>
                  </a:solidFill>
                  <a:latin typeface="맑은 고딕"/>
                  <a:cs typeface="Arial"/>
                </a:rPr>
                <a:t>기초통계분석</a:t>
              </a:r>
              <a:endParaRPr lang="en-US" altLang="ko-KR" sz="1050" b="1" kern="0" dirty="0" smtClean="0">
                <a:solidFill>
                  <a:srgbClr val="000000"/>
                </a:solidFill>
                <a:latin typeface="맑은 고딕"/>
                <a:cs typeface="Arial"/>
              </a:endParaRPr>
            </a:p>
          </p:txBody>
        </p:sp>
        <p:sp>
          <p:nvSpPr>
            <p:cNvPr id="28" name="AutoShape 120"/>
            <p:cNvSpPr>
              <a:spLocks noChangeArrowheads="1"/>
            </p:cNvSpPr>
            <p:nvPr/>
          </p:nvSpPr>
          <p:spPr bwMode="gray">
            <a:xfrm>
              <a:off x="4066020" y="839442"/>
              <a:ext cx="1919804" cy="517330"/>
            </a:xfrm>
            <a:prstGeom prst="chevron">
              <a:avLst>
                <a:gd name="adj" fmla="val 31331"/>
              </a:avLst>
            </a:prstGeom>
            <a:gradFill rotWithShape="0">
              <a:gsLst>
                <a:gs pos="0">
                  <a:schemeClr val="accent4"/>
                </a:gs>
                <a:gs pos="50000">
                  <a:srgbClr val="F6F6F6"/>
                </a:gs>
                <a:gs pos="100000">
                  <a:schemeClr val="accent4"/>
                </a:gs>
              </a:gsLst>
              <a:lin ang="5400000" scaled="1"/>
            </a:gra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28398" dir="3806097" algn="ctr" rotWithShape="0">
                <a:srgbClr val="000000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spcBef>
                  <a:spcPts val="400"/>
                </a:spcBef>
              </a:pPr>
              <a:r>
                <a:rPr lang="en-US" altLang="ko-KR" sz="1050" b="1" kern="0" dirty="0">
                  <a:solidFill>
                    <a:srgbClr val="000000"/>
                  </a:solidFill>
                  <a:latin typeface="+mn-ea"/>
                  <a:cs typeface="Arial"/>
                </a:rPr>
                <a:t>X</a:t>
              </a:r>
              <a:r>
                <a:rPr lang="ko-KR" altLang="en-US" sz="1050" b="1" kern="0">
                  <a:solidFill>
                    <a:srgbClr val="000000"/>
                  </a:solidFill>
                  <a:latin typeface="+mn-ea"/>
                  <a:cs typeface="Arial"/>
                </a:rPr>
                <a:t>인자간의 </a:t>
              </a:r>
            </a:p>
            <a:p>
              <a:pPr algn="ctr" latinLnBrk="0">
                <a:spcBef>
                  <a:spcPts val="400"/>
                </a:spcBef>
              </a:pPr>
              <a:r>
                <a:rPr lang="ko-KR" altLang="en-US" sz="1050" b="1" kern="0" dirty="0">
                  <a:solidFill>
                    <a:srgbClr val="000000"/>
                  </a:solidFill>
                  <a:latin typeface="+mn-ea"/>
                  <a:cs typeface="Arial"/>
                </a:rPr>
                <a:t>상관 분석</a:t>
              </a:r>
            </a:p>
          </p:txBody>
        </p:sp>
        <p:sp>
          <p:nvSpPr>
            <p:cNvPr id="29" name="AutoShape 120"/>
            <p:cNvSpPr>
              <a:spLocks noChangeArrowheads="1"/>
            </p:cNvSpPr>
            <p:nvPr/>
          </p:nvSpPr>
          <p:spPr bwMode="gray">
            <a:xfrm>
              <a:off x="5851380" y="839442"/>
              <a:ext cx="1919804" cy="517330"/>
            </a:xfrm>
            <a:prstGeom prst="chevron">
              <a:avLst>
                <a:gd name="adj" fmla="val 31331"/>
              </a:avLst>
            </a:prstGeom>
            <a:gradFill rotWithShape="0">
              <a:gsLst>
                <a:gs pos="0">
                  <a:srgbClr val="C0C0C0"/>
                </a:gs>
                <a:gs pos="50000">
                  <a:srgbClr val="F6F6F6"/>
                </a:gs>
                <a:gs pos="100000">
                  <a:srgbClr val="C0C0C0"/>
                </a:gs>
              </a:gsLst>
              <a:lin ang="5400000" scaled="1"/>
            </a:gra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28398" dir="3806097" algn="ctr" rotWithShape="0">
                <a:srgbClr val="000000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spcBef>
                  <a:spcPts val="400"/>
                </a:spcBef>
              </a:pPr>
              <a:r>
                <a:rPr lang="ko-KR" altLang="en-US" sz="1000" b="1" kern="0" dirty="0" err="1" smtClean="0">
                  <a:solidFill>
                    <a:srgbClr val="000000"/>
                  </a:solidFill>
                  <a:latin typeface="+mn-ea"/>
                  <a:cs typeface="Arial"/>
                </a:rPr>
                <a:t>시계열</a:t>
              </a:r>
              <a:r>
                <a:rPr lang="ko-KR" altLang="en-US" sz="1000" b="1" kern="0" dirty="0" smtClean="0">
                  <a:solidFill>
                    <a:srgbClr val="000000"/>
                  </a:solidFill>
                  <a:latin typeface="+mn-ea"/>
                  <a:cs typeface="Arial"/>
                </a:rPr>
                <a:t> 분석</a:t>
              </a:r>
              <a:endParaRPr lang="en-US" altLang="ko-KR" sz="1000" b="1" kern="0" dirty="0">
                <a:solidFill>
                  <a:srgbClr val="000000"/>
                </a:solidFill>
                <a:latin typeface="+mn-ea"/>
                <a:cs typeface="Arial"/>
              </a:endParaRPr>
            </a:p>
          </p:txBody>
        </p:sp>
        <p:sp>
          <p:nvSpPr>
            <p:cNvPr id="32" name="AutoShape 120"/>
            <p:cNvSpPr>
              <a:spLocks noChangeArrowheads="1"/>
            </p:cNvSpPr>
            <p:nvPr/>
          </p:nvSpPr>
          <p:spPr bwMode="gray">
            <a:xfrm>
              <a:off x="495300" y="839442"/>
              <a:ext cx="1919804" cy="517330"/>
            </a:xfrm>
            <a:prstGeom prst="chevron">
              <a:avLst>
                <a:gd name="adj" fmla="val 31331"/>
              </a:avLst>
            </a:prstGeom>
            <a:gradFill rotWithShape="0">
              <a:gsLst>
                <a:gs pos="0">
                  <a:srgbClr val="C0C0C0"/>
                </a:gs>
                <a:gs pos="50000">
                  <a:srgbClr val="F6F6F6"/>
                </a:gs>
                <a:gs pos="100000">
                  <a:srgbClr val="C0C0C0"/>
                </a:gs>
              </a:gsLst>
              <a:lin ang="5400000" scaled="1"/>
            </a:gradFill>
            <a:ln w="9525" algn="ctr">
              <a:solidFill>
                <a:srgbClr val="000000"/>
              </a:solidFill>
              <a:prstDash val="lgDash"/>
              <a:miter lim="800000"/>
              <a:headEnd/>
              <a:tailEnd/>
            </a:ln>
            <a:effectLst>
              <a:outerShdw dist="28398" dir="3806097" algn="ctr" rotWithShape="0">
                <a:srgbClr val="000000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spcBef>
                  <a:spcPts val="400"/>
                </a:spcBef>
                <a:defRPr/>
              </a:pPr>
              <a:r>
                <a:rPr lang="ko-KR" altLang="en-US" sz="1050" b="1" kern="0" dirty="0" smtClean="0">
                  <a:solidFill>
                    <a:srgbClr val="000000"/>
                  </a:solidFill>
                  <a:latin typeface="맑은 고딕"/>
                  <a:cs typeface="Arial"/>
                </a:rPr>
                <a:t>데이터 </a:t>
              </a:r>
              <a:r>
                <a:rPr lang="ko-KR" altLang="en-US" sz="1050" b="1" kern="0" dirty="0" err="1" smtClean="0">
                  <a:solidFill>
                    <a:srgbClr val="000000"/>
                  </a:solidFill>
                  <a:latin typeface="맑은 고딕"/>
                  <a:cs typeface="Arial"/>
                </a:rPr>
                <a:t>마트</a:t>
              </a:r>
              <a:r>
                <a:rPr lang="ko-KR" altLang="en-US" sz="1050" b="1" kern="0" dirty="0" smtClean="0">
                  <a:solidFill>
                    <a:srgbClr val="000000"/>
                  </a:solidFill>
                  <a:latin typeface="맑은 고딕"/>
                  <a:cs typeface="Arial"/>
                </a:rPr>
                <a:t> 구축</a:t>
              </a:r>
              <a:endParaRPr lang="en-US" altLang="ko-KR" sz="1050" b="1" kern="0" dirty="0" smtClean="0">
                <a:solidFill>
                  <a:srgbClr val="000000"/>
                </a:solidFill>
                <a:latin typeface="맑은 고딕"/>
                <a:cs typeface="Arial"/>
              </a:endParaRPr>
            </a:p>
          </p:txBody>
        </p:sp>
        <p:sp>
          <p:nvSpPr>
            <p:cNvPr id="34" name="AutoShape 120"/>
            <p:cNvSpPr>
              <a:spLocks noChangeArrowheads="1"/>
            </p:cNvSpPr>
            <p:nvPr/>
          </p:nvSpPr>
          <p:spPr bwMode="gray">
            <a:xfrm>
              <a:off x="9422101" y="839442"/>
              <a:ext cx="1919804" cy="517330"/>
            </a:xfrm>
            <a:prstGeom prst="chevron">
              <a:avLst>
                <a:gd name="adj" fmla="val 31331"/>
              </a:avLst>
            </a:prstGeom>
            <a:gradFill rotWithShape="0">
              <a:gsLst>
                <a:gs pos="0">
                  <a:srgbClr val="C0C0C0"/>
                </a:gs>
                <a:gs pos="50000">
                  <a:srgbClr val="F6F6F6"/>
                </a:gs>
                <a:gs pos="100000">
                  <a:srgbClr val="C0C0C0"/>
                </a:gs>
              </a:gsLst>
              <a:lin ang="5400000" scaled="1"/>
            </a:gradFill>
            <a:ln w="9525" algn="ctr">
              <a:solidFill>
                <a:srgbClr val="000000"/>
              </a:solidFill>
              <a:prstDash val="lgDash"/>
              <a:miter lim="800000"/>
              <a:headEnd/>
              <a:tailEnd/>
            </a:ln>
            <a:effectLst>
              <a:outerShdw dist="28398" dir="3806097" algn="ctr" rotWithShape="0">
                <a:srgbClr val="000000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spcBef>
                  <a:spcPts val="400"/>
                </a:spcBef>
              </a:pPr>
              <a:r>
                <a:rPr lang="ko-KR" altLang="en-US" sz="1050" b="1" kern="0" dirty="0">
                  <a:solidFill>
                    <a:srgbClr val="000000"/>
                  </a:solidFill>
                  <a:latin typeface="맑은 고딕"/>
                  <a:cs typeface="Arial"/>
                </a:rPr>
                <a:t>예측 모델 개발</a:t>
              </a:r>
              <a:endParaRPr lang="en-US" altLang="ko-KR" sz="1050" b="1" kern="0" dirty="0">
                <a:solidFill>
                  <a:srgbClr val="000000"/>
                </a:solidFill>
                <a:latin typeface="맑은 고딕"/>
                <a:cs typeface="Arial"/>
              </a:endParaRPr>
            </a:p>
          </p:txBody>
        </p:sp>
        <p:sp>
          <p:nvSpPr>
            <p:cNvPr id="20" name="AutoShape 120"/>
            <p:cNvSpPr>
              <a:spLocks noChangeArrowheads="1"/>
            </p:cNvSpPr>
            <p:nvPr/>
          </p:nvSpPr>
          <p:spPr bwMode="gray">
            <a:xfrm>
              <a:off x="7636740" y="839442"/>
              <a:ext cx="1919804" cy="517330"/>
            </a:xfrm>
            <a:prstGeom prst="chevron">
              <a:avLst>
                <a:gd name="adj" fmla="val 31331"/>
              </a:avLst>
            </a:prstGeom>
            <a:gradFill rotWithShape="0">
              <a:gsLst>
                <a:gs pos="0">
                  <a:srgbClr val="C0C0C0"/>
                </a:gs>
                <a:gs pos="50000">
                  <a:srgbClr val="F6F6F6"/>
                </a:gs>
                <a:gs pos="100000">
                  <a:srgbClr val="C0C0C0"/>
                </a:gs>
              </a:gsLst>
              <a:lin ang="5400000" scaled="1"/>
            </a:gra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>
              <a:outerShdw dist="28398" dir="3806097" algn="ctr" rotWithShape="0">
                <a:srgbClr val="000000"/>
              </a:outerShdw>
            </a:effectLst>
          </p:spPr>
          <p:txBody>
            <a:bodyPr lIns="0" tIns="0" rIns="0" bIns="0" anchor="ctr"/>
            <a:lstStyle/>
            <a:p>
              <a:pPr algn="ctr" latinLnBrk="0">
                <a:spcBef>
                  <a:spcPts val="400"/>
                </a:spcBef>
              </a:pPr>
              <a:r>
                <a:rPr lang="en-US" altLang="ko-KR" sz="1050" b="1" kern="0" dirty="0" smtClean="0">
                  <a:solidFill>
                    <a:srgbClr val="000000"/>
                  </a:solidFill>
                  <a:latin typeface="맑은 고딕"/>
                  <a:cs typeface="Arial"/>
                </a:rPr>
                <a:t>X</a:t>
              </a:r>
              <a:r>
                <a:rPr lang="ko-KR" altLang="en-US" sz="1050" b="1" kern="0" smtClean="0">
                  <a:solidFill>
                    <a:srgbClr val="000000"/>
                  </a:solidFill>
                  <a:latin typeface="맑은 고딕"/>
                  <a:cs typeface="Arial"/>
                </a:rPr>
                <a:t>인자와 </a:t>
              </a:r>
              <a:r>
                <a:rPr lang="en-US" altLang="ko-KR" sz="1050" b="1" kern="0" dirty="0" smtClean="0">
                  <a:solidFill>
                    <a:srgbClr val="000000"/>
                  </a:solidFill>
                  <a:latin typeface="맑은 고딕"/>
                  <a:cs typeface="Arial"/>
                </a:rPr>
                <a:t>Y</a:t>
              </a:r>
              <a:r>
                <a:rPr lang="ko-KR" altLang="en-US" sz="1050" b="1" kern="0" smtClean="0">
                  <a:solidFill>
                    <a:srgbClr val="000000"/>
                  </a:solidFill>
                  <a:latin typeface="맑은 고딕"/>
                  <a:cs typeface="Arial"/>
                </a:rPr>
                <a:t>인자간의 </a:t>
              </a:r>
              <a:endParaRPr lang="en-US" altLang="ko-KR" sz="1050" b="1" kern="0" dirty="0" smtClean="0">
                <a:solidFill>
                  <a:srgbClr val="000000"/>
                </a:solidFill>
                <a:latin typeface="맑은 고딕"/>
                <a:cs typeface="Arial"/>
              </a:endParaRPr>
            </a:p>
            <a:p>
              <a:pPr algn="ctr" latinLnBrk="0">
                <a:spcBef>
                  <a:spcPts val="400"/>
                </a:spcBef>
              </a:pPr>
              <a:r>
                <a:rPr lang="ko-KR" altLang="en-US" sz="1050" b="1" kern="0" dirty="0" smtClean="0">
                  <a:solidFill>
                    <a:srgbClr val="000000"/>
                  </a:solidFill>
                  <a:latin typeface="맑은 고딕"/>
                  <a:cs typeface="Arial"/>
                </a:rPr>
                <a:t>상관 분석</a:t>
              </a:r>
              <a:endParaRPr lang="en-US" altLang="ko-KR" sz="1050" kern="0" dirty="0" smtClean="0">
                <a:solidFill>
                  <a:srgbClr val="000000"/>
                </a:solidFill>
                <a:latin typeface="맑은 고딕"/>
                <a:cs typeface="Arial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420939" y="2484176"/>
            <a:ext cx="45034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각 변수들이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3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</a:rPr>
              <a:t>가지 성질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(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</a:rPr>
              <a:t>추세성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</a:rPr>
              <a:t>계절성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</a:rPr>
              <a:t>순환성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)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</a:rPr>
              <a:t>이 있는지 확인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2242925"/>
              </p:ext>
            </p:extLst>
          </p:nvPr>
        </p:nvGraphicFramePr>
        <p:xfrm>
          <a:off x="710754" y="2906586"/>
          <a:ext cx="4115744" cy="18460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9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500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857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285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개념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의미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확인 방법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4413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① </a:t>
                      </a:r>
                      <a:r>
                        <a:rPr lang="ko-KR" altLang="en-US" sz="10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추세성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장기적으로 일정하게 변하는 패턴이 존재하는가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선형 적합 후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ko-KR" altLang="en-US" sz="100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회귀계수가 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r>
                        <a:rPr lang="ko-KR" altLang="en-US" sz="100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에 가까운가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4413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1000" b="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② </a:t>
                      </a:r>
                      <a:r>
                        <a:rPr lang="ko-KR" altLang="en-US" sz="10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계절성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연도별 반복 패턴이 존재하는가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육안으로 확인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4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③ 순환성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주기적으로 발생하는 패턴이 있는가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육안으로 확인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290" marR="143290" marT="71645" marB="7164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2" name="표 21"/>
          <p:cNvGraphicFramePr>
            <a:graphicFrameLocks noGrp="1"/>
          </p:cNvGraphicFramePr>
          <p:nvPr>
            <p:extLst/>
          </p:nvPr>
        </p:nvGraphicFramePr>
        <p:xfrm>
          <a:off x="5453470" y="2552695"/>
          <a:ext cx="1281438" cy="76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09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4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시간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시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: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분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:</a:t>
                      </a:r>
                      <a:r>
                        <a:rPr lang="ko-KR" altLang="en-US" sz="1000" smtClean="0">
                          <a:solidFill>
                            <a:schemeClr val="tx1"/>
                          </a:solidFill>
                        </a:rPr>
                        <a:t>초</a:t>
                      </a:r>
                      <a:r>
                        <a:rPr lang="en-US" altLang="ko-KR" sz="10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latinLnBrk="1">
                        <a:buFont typeface="Arial" panose="020B0604020202020204" pitchFamily="34" charset="0"/>
                        <a:buNone/>
                      </a:pPr>
                      <a:r>
                        <a:rPr lang="ko-KR" altLang="en-US" sz="1000" dirty="0" smtClean="0">
                          <a:solidFill>
                            <a:schemeClr val="tx1"/>
                          </a:solidFill>
                        </a:rPr>
                        <a:t>값</a:t>
                      </a:r>
                      <a:endParaRPr lang="ko-KR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:01:02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Arial" panose="020B0604020202020204" pitchFamily="34" charset="0"/>
                        <a:buNone/>
                      </a:pP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:01:03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Arial" panose="020B0604020202020204" pitchFamily="34" charset="0"/>
                        <a:buNone/>
                      </a:pP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:01:05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Arial" panose="020B0604020202020204" pitchFamily="34" charset="0"/>
                        <a:buNone/>
                      </a:pP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0:01:06</a:t>
                      </a:r>
                      <a:endParaRPr lang="ko-KR" altLang="en-US" sz="1000" b="1" kern="120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1" hangingPunct="1">
                        <a:buFont typeface="Arial" panose="020B0604020202020204" pitchFamily="34" charset="0"/>
                        <a:buNone/>
                      </a:pP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ko-KR" alt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5229599" y="3373895"/>
            <a:ext cx="45034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방법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1)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</a:rPr>
              <a:t>시간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간격을 고려하지 않고 순서대로 시각화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grpSp>
        <p:nvGrpSpPr>
          <p:cNvPr id="24" name="그룹 23"/>
          <p:cNvGrpSpPr/>
          <p:nvPr/>
        </p:nvGrpSpPr>
        <p:grpSpPr>
          <a:xfrm>
            <a:off x="5542085" y="3714136"/>
            <a:ext cx="2562518" cy="1209861"/>
            <a:chOff x="5600700" y="3476625"/>
            <a:chExt cx="2562518" cy="1209861"/>
          </a:xfrm>
        </p:grpSpPr>
        <p:cxnSp>
          <p:nvCxnSpPr>
            <p:cNvPr id="25" name="직선 연결선 24"/>
            <p:cNvCxnSpPr/>
            <p:nvPr/>
          </p:nvCxnSpPr>
          <p:spPr>
            <a:xfrm flipV="1">
              <a:off x="5813821" y="4505006"/>
              <a:ext cx="2075484" cy="0"/>
            </a:xfrm>
            <a:prstGeom prst="line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직선 연결선 25"/>
            <p:cNvCxnSpPr/>
            <p:nvPr/>
          </p:nvCxnSpPr>
          <p:spPr>
            <a:xfrm flipH="1" flipV="1">
              <a:off x="5865403" y="3641036"/>
              <a:ext cx="0" cy="927963"/>
            </a:xfrm>
            <a:prstGeom prst="line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직사각형 29"/>
            <p:cNvSpPr/>
            <p:nvPr/>
          </p:nvSpPr>
          <p:spPr>
            <a:xfrm>
              <a:off x="5600700" y="3476625"/>
              <a:ext cx="220498" cy="216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100" dirty="0" smtClean="0">
                  <a:solidFill>
                    <a:schemeClr val="bg2">
                      <a:lumMod val="25000"/>
                    </a:schemeClr>
                  </a:solidFill>
                </a:rPr>
                <a:t>값</a:t>
              </a:r>
              <a:endParaRPr lang="ko-KR" altLang="en-US" sz="1100" dirty="0">
                <a:latin typeface="+mj-ea"/>
                <a:ea typeface="+mj-ea"/>
              </a:endParaRPr>
            </a:p>
          </p:txBody>
        </p:sp>
        <p:sp>
          <p:nvSpPr>
            <p:cNvPr id="31" name="직사각형 30"/>
            <p:cNvSpPr/>
            <p:nvPr/>
          </p:nvSpPr>
          <p:spPr>
            <a:xfrm>
              <a:off x="7847229" y="4403387"/>
              <a:ext cx="315989" cy="2162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100" dirty="0" smtClean="0">
                  <a:solidFill>
                    <a:schemeClr val="bg2">
                      <a:lumMod val="25000"/>
                    </a:schemeClr>
                  </a:solidFill>
                </a:rPr>
                <a:t>시간</a:t>
              </a:r>
              <a:endParaRPr lang="ko-KR" altLang="en-US" sz="1100" dirty="0">
                <a:latin typeface="+mj-ea"/>
                <a:ea typeface="+mj-ea"/>
              </a:endParaRPr>
            </a:p>
          </p:txBody>
        </p:sp>
        <p:sp>
          <p:nvSpPr>
            <p:cNvPr id="33" name="직사각형 32"/>
            <p:cNvSpPr/>
            <p:nvPr/>
          </p:nvSpPr>
          <p:spPr>
            <a:xfrm>
              <a:off x="6094910" y="4522011"/>
              <a:ext cx="318159" cy="1644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100" dirty="0" smtClean="0">
                  <a:solidFill>
                    <a:schemeClr val="bg2">
                      <a:lumMod val="25000"/>
                    </a:schemeClr>
                  </a:solidFill>
                </a:rPr>
                <a:t>02</a:t>
              </a:r>
              <a:r>
                <a:rPr lang="ko-KR" altLang="en-US" sz="1100" smtClean="0">
                  <a:solidFill>
                    <a:schemeClr val="bg2">
                      <a:lumMod val="25000"/>
                    </a:schemeClr>
                  </a:solidFill>
                </a:rPr>
                <a:t>초</a:t>
              </a:r>
              <a:endParaRPr lang="ko-KR" altLang="en-US" sz="11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cxnSp>
          <p:nvCxnSpPr>
            <p:cNvPr id="35" name="직선 연결선 34"/>
            <p:cNvCxnSpPr/>
            <p:nvPr/>
          </p:nvCxnSpPr>
          <p:spPr>
            <a:xfrm flipH="1" flipV="1">
              <a:off x="6251475" y="3670978"/>
              <a:ext cx="0" cy="826883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그룹 35"/>
            <p:cNvGrpSpPr/>
            <p:nvPr/>
          </p:nvGrpSpPr>
          <p:grpSpPr>
            <a:xfrm>
              <a:off x="6505686" y="3670978"/>
              <a:ext cx="318159" cy="1009519"/>
              <a:chOff x="6750539" y="4157648"/>
              <a:chExt cx="470000" cy="1605721"/>
            </a:xfrm>
          </p:grpSpPr>
          <p:sp>
            <p:nvSpPr>
              <p:cNvPr id="61" name="직사각형 60"/>
              <p:cNvSpPr/>
              <p:nvPr/>
            </p:nvSpPr>
            <p:spPr>
              <a:xfrm>
                <a:off x="6750539" y="5501759"/>
                <a:ext cx="470000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ko-KR" sz="1100" dirty="0" smtClean="0">
                    <a:solidFill>
                      <a:schemeClr val="bg2">
                        <a:lumMod val="25000"/>
                      </a:schemeClr>
                    </a:solidFill>
                  </a:rPr>
                  <a:t>03</a:t>
                </a:r>
                <a:r>
                  <a:rPr lang="ko-KR" altLang="en-US" sz="1100" smtClean="0">
                    <a:solidFill>
                      <a:schemeClr val="bg2">
                        <a:lumMod val="25000"/>
                      </a:schemeClr>
                    </a:solidFill>
                  </a:rPr>
                  <a:t>초</a:t>
                </a:r>
                <a:endParaRPr lang="ko-KR" altLang="en-US" sz="1100" dirty="0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  <p:cxnSp>
            <p:nvCxnSpPr>
              <p:cNvPr id="62" name="직선 연결선 61"/>
              <p:cNvCxnSpPr/>
              <p:nvPr/>
            </p:nvCxnSpPr>
            <p:spPr>
              <a:xfrm flipH="1" flipV="1">
                <a:off x="6981825" y="4157648"/>
                <a:ext cx="0" cy="1315223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그룹 36"/>
            <p:cNvGrpSpPr/>
            <p:nvPr/>
          </p:nvGrpSpPr>
          <p:grpSpPr>
            <a:xfrm>
              <a:off x="6916461" y="3670978"/>
              <a:ext cx="318159" cy="1003531"/>
              <a:chOff x="7350614" y="4167173"/>
              <a:chExt cx="470000" cy="1596196"/>
            </a:xfrm>
          </p:grpSpPr>
          <p:sp>
            <p:nvSpPr>
              <p:cNvPr id="59" name="직사각형 58"/>
              <p:cNvSpPr/>
              <p:nvPr/>
            </p:nvSpPr>
            <p:spPr>
              <a:xfrm>
                <a:off x="7350614" y="5501759"/>
                <a:ext cx="470000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ko-KR" sz="1100" dirty="0" smtClean="0">
                    <a:solidFill>
                      <a:schemeClr val="bg2">
                        <a:lumMod val="25000"/>
                      </a:schemeClr>
                    </a:solidFill>
                  </a:rPr>
                  <a:t>05</a:t>
                </a:r>
                <a:r>
                  <a:rPr lang="ko-KR" altLang="en-US" sz="1100" smtClean="0">
                    <a:solidFill>
                      <a:schemeClr val="bg2">
                        <a:lumMod val="25000"/>
                      </a:schemeClr>
                    </a:solidFill>
                  </a:rPr>
                  <a:t>초</a:t>
                </a:r>
                <a:endParaRPr lang="ko-KR" altLang="en-US" sz="1100" dirty="0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  <p:cxnSp>
            <p:nvCxnSpPr>
              <p:cNvPr id="60" name="직선 연결선 59"/>
              <p:cNvCxnSpPr/>
              <p:nvPr/>
            </p:nvCxnSpPr>
            <p:spPr>
              <a:xfrm flipH="1" flipV="1">
                <a:off x="7581900" y="4167173"/>
                <a:ext cx="0" cy="1315223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그룹 37"/>
            <p:cNvGrpSpPr/>
            <p:nvPr/>
          </p:nvGrpSpPr>
          <p:grpSpPr>
            <a:xfrm>
              <a:off x="7327237" y="3670978"/>
              <a:ext cx="318159" cy="997542"/>
              <a:chOff x="7950689" y="4176698"/>
              <a:chExt cx="470000" cy="1586671"/>
            </a:xfrm>
          </p:grpSpPr>
          <p:sp>
            <p:nvSpPr>
              <p:cNvPr id="55" name="직사각형 54"/>
              <p:cNvSpPr/>
              <p:nvPr/>
            </p:nvSpPr>
            <p:spPr>
              <a:xfrm>
                <a:off x="7950689" y="5501759"/>
                <a:ext cx="470000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ko-KR" sz="1100" dirty="0" smtClean="0">
                    <a:solidFill>
                      <a:schemeClr val="bg2">
                        <a:lumMod val="25000"/>
                      </a:schemeClr>
                    </a:solidFill>
                  </a:rPr>
                  <a:t>06</a:t>
                </a:r>
                <a:r>
                  <a:rPr lang="ko-KR" altLang="en-US" sz="1100" smtClean="0">
                    <a:solidFill>
                      <a:schemeClr val="bg2">
                        <a:lumMod val="25000"/>
                      </a:schemeClr>
                    </a:solidFill>
                  </a:rPr>
                  <a:t>초</a:t>
                </a:r>
                <a:endParaRPr lang="ko-KR" altLang="en-US" sz="1100" dirty="0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  <p:cxnSp>
            <p:nvCxnSpPr>
              <p:cNvPr id="56" name="직선 연결선 55"/>
              <p:cNvCxnSpPr/>
              <p:nvPr/>
            </p:nvCxnSpPr>
            <p:spPr>
              <a:xfrm flipH="1" flipV="1">
                <a:off x="8181975" y="4176698"/>
                <a:ext cx="0" cy="1315223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9" name="직선 연결선 38"/>
            <p:cNvCxnSpPr/>
            <p:nvPr/>
          </p:nvCxnSpPr>
          <p:spPr>
            <a:xfrm flipH="1">
              <a:off x="5865403" y="4308750"/>
              <a:ext cx="1766699" cy="1796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직선 연결선 40"/>
            <p:cNvCxnSpPr/>
            <p:nvPr/>
          </p:nvCxnSpPr>
          <p:spPr>
            <a:xfrm flipH="1">
              <a:off x="5865403" y="4150067"/>
              <a:ext cx="1766699" cy="1796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직선 연결선 41"/>
            <p:cNvCxnSpPr/>
            <p:nvPr/>
          </p:nvCxnSpPr>
          <p:spPr>
            <a:xfrm flipH="1">
              <a:off x="5865403" y="3991384"/>
              <a:ext cx="1766699" cy="1796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직선 연결선 42"/>
            <p:cNvCxnSpPr/>
            <p:nvPr/>
          </p:nvCxnSpPr>
          <p:spPr>
            <a:xfrm flipH="1">
              <a:off x="5865403" y="3832701"/>
              <a:ext cx="1766699" cy="1796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타원 43"/>
            <p:cNvSpPr>
              <a:spLocks noChangeAspect="1"/>
            </p:cNvSpPr>
            <p:nvPr/>
          </p:nvSpPr>
          <p:spPr>
            <a:xfrm>
              <a:off x="6200689" y="4280183"/>
              <a:ext cx="83821" cy="76953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5" name="타원 44"/>
            <p:cNvSpPr>
              <a:spLocks noChangeAspect="1"/>
            </p:cNvSpPr>
            <p:nvPr/>
          </p:nvSpPr>
          <p:spPr>
            <a:xfrm>
              <a:off x="6619796" y="4130473"/>
              <a:ext cx="83821" cy="76953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6" name="타원 45"/>
            <p:cNvSpPr>
              <a:spLocks noChangeAspect="1"/>
            </p:cNvSpPr>
            <p:nvPr/>
          </p:nvSpPr>
          <p:spPr>
            <a:xfrm>
              <a:off x="7026008" y="3962799"/>
              <a:ext cx="83821" cy="76953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7" name="타원 46"/>
            <p:cNvSpPr>
              <a:spLocks noChangeAspect="1"/>
            </p:cNvSpPr>
            <p:nvPr/>
          </p:nvSpPr>
          <p:spPr>
            <a:xfrm>
              <a:off x="7432220" y="3795124"/>
              <a:ext cx="83821" cy="76953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8" name="직사각형 47"/>
            <p:cNvSpPr/>
            <p:nvPr/>
          </p:nvSpPr>
          <p:spPr>
            <a:xfrm>
              <a:off x="5664169" y="4244459"/>
              <a:ext cx="25039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000" dirty="0"/>
                <a:t>1</a:t>
              </a: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5664169" y="4073009"/>
              <a:ext cx="25039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000" dirty="0" smtClean="0"/>
                <a:t>2</a:t>
              </a:r>
              <a:endParaRPr lang="en-US" altLang="ko-KR" sz="1000" dirty="0"/>
            </a:p>
          </p:txBody>
        </p:sp>
        <p:sp>
          <p:nvSpPr>
            <p:cNvPr id="50" name="직사각형 49"/>
            <p:cNvSpPr/>
            <p:nvPr/>
          </p:nvSpPr>
          <p:spPr>
            <a:xfrm>
              <a:off x="5664169" y="3901559"/>
              <a:ext cx="25039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000" dirty="0" smtClean="0"/>
                <a:t>3</a:t>
              </a:r>
              <a:endParaRPr lang="en-US" altLang="ko-KR" sz="1000" dirty="0"/>
            </a:p>
          </p:txBody>
        </p:sp>
        <p:sp>
          <p:nvSpPr>
            <p:cNvPr id="53" name="직사각형 52"/>
            <p:cNvSpPr/>
            <p:nvPr/>
          </p:nvSpPr>
          <p:spPr>
            <a:xfrm>
              <a:off x="5664169" y="3730109"/>
              <a:ext cx="25039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000" dirty="0" smtClean="0"/>
                <a:t>4</a:t>
              </a:r>
              <a:endParaRPr lang="en-US" altLang="ko-KR" sz="1000" dirty="0"/>
            </a:p>
          </p:txBody>
        </p:sp>
      </p:grpSp>
      <p:grpSp>
        <p:nvGrpSpPr>
          <p:cNvPr id="3" name="그룹 2"/>
          <p:cNvGrpSpPr/>
          <p:nvPr/>
        </p:nvGrpSpPr>
        <p:grpSpPr>
          <a:xfrm>
            <a:off x="5535490" y="5310310"/>
            <a:ext cx="3075110" cy="1182370"/>
            <a:chOff x="5667375" y="5780210"/>
            <a:chExt cx="3438818" cy="1182370"/>
          </a:xfrm>
        </p:grpSpPr>
        <p:cxnSp>
          <p:nvCxnSpPr>
            <p:cNvPr id="63" name="직선 연결선 62"/>
            <p:cNvCxnSpPr/>
            <p:nvPr/>
          </p:nvCxnSpPr>
          <p:spPr>
            <a:xfrm flipV="1">
              <a:off x="5880496" y="6808591"/>
              <a:ext cx="2916000" cy="0"/>
            </a:xfrm>
            <a:prstGeom prst="line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직선 연결선 63"/>
            <p:cNvCxnSpPr/>
            <p:nvPr/>
          </p:nvCxnSpPr>
          <p:spPr>
            <a:xfrm flipH="1" flipV="1">
              <a:off x="5932078" y="5944621"/>
              <a:ext cx="0" cy="927963"/>
            </a:xfrm>
            <a:prstGeom prst="line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직사각형 64"/>
            <p:cNvSpPr/>
            <p:nvPr/>
          </p:nvSpPr>
          <p:spPr>
            <a:xfrm>
              <a:off x="5667375" y="5780210"/>
              <a:ext cx="220498" cy="216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100" dirty="0" smtClean="0">
                  <a:solidFill>
                    <a:schemeClr val="bg2">
                      <a:lumMod val="25000"/>
                    </a:schemeClr>
                  </a:solidFill>
                </a:rPr>
                <a:t>값</a:t>
              </a:r>
              <a:endParaRPr lang="ko-KR" altLang="en-US" sz="1100" dirty="0">
                <a:latin typeface="+mj-ea"/>
                <a:ea typeface="+mj-ea"/>
              </a:endParaRPr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8790204" y="6697447"/>
              <a:ext cx="315989" cy="2162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100" dirty="0" smtClean="0">
                  <a:solidFill>
                    <a:schemeClr val="bg2">
                      <a:lumMod val="25000"/>
                    </a:schemeClr>
                  </a:solidFill>
                </a:rPr>
                <a:t>시간</a:t>
              </a:r>
              <a:endParaRPr lang="ko-KR" altLang="en-US" sz="1100" dirty="0">
                <a:latin typeface="+mj-ea"/>
                <a:ea typeface="+mj-ea"/>
              </a:endParaRPr>
            </a:p>
          </p:txBody>
        </p:sp>
        <p:sp>
          <p:nvSpPr>
            <p:cNvPr id="67" name="직사각형 66"/>
            <p:cNvSpPr/>
            <p:nvPr/>
          </p:nvSpPr>
          <p:spPr>
            <a:xfrm>
              <a:off x="6161585" y="6798105"/>
              <a:ext cx="318159" cy="1644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100" dirty="0" smtClean="0">
                  <a:solidFill>
                    <a:schemeClr val="bg2">
                      <a:lumMod val="25000"/>
                    </a:schemeClr>
                  </a:solidFill>
                </a:rPr>
                <a:t>02</a:t>
              </a:r>
              <a:r>
                <a:rPr lang="ko-KR" altLang="en-US" sz="1100" smtClean="0">
                  <a:solidFill>
                    <a:schemeClr val="bg2">
                      <a:lumMod val="25000"/>
                    </a:schemeClr>
                  </a:solidFill>
                </a:rPr>
                <a:t>초</a:t>
              </a:r>
              <a:endParaRPr lang="ko-KR" altLang="en-US" sz="11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cxnSp>
          <p:nvCxnSpPr>
            <p:cNvPr id="68" name="직선 연결선 67"/>
            <p:cNvCxnSpPr/>
            <p:nvPr/>
          </p:nvCxnSpPr>
          <p:spPr>
            <a:xfrm flipH="1" flipV="1">
              <a:off x="6318150" y="5974563"/>
              <a:ext cx="0" cy="826883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직사각형 68"/>
            <p:cNvSpPr/>
            <p:nvPr/>
          </p:nvSpPr>
          <p:spPr>
            <a:xfrm>
              <a:off x="6943836" y="6798105"/>
              <a:ext cx="318159" cy="1644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100" dirty="0" smtClean="0">
                  <a:solidFill>
                    <a:schemeClr val="bg2">
                      <a:lumMod val="25000"/>
                    </a:schemeClr>
                  </a:solidFill>
                </a:rPr>
                <a:t>03</a:t>
              </a:r>
              <a:r>
                <a:rPr lang="ko-KR" altLang="en-US" sz="1100" smtClean="0">
                  <a:solidFill>
                    <a:schemeClr val="bg2">
                      <a:lumMod val="25000"/>
                    </a:schemeClr>
                  </a:solidFill>
                </a:rPr>
                <a:t>초</a:t>
              </a:r>
              <a:endParaRPr lang="ko-KR" altLang="en-US" sz="11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cxnSp>
          <p:nvCxnSpPr>
            <p:cNvPr id="70" name="직선 연결선 69"/>
            <p:cNvCxnSpPr/>
            <p:nvPr/>
          </p:nvCxnSpPr>
          <p:spPr>
            <a:xfrm flipH="1" flipV="1">
              <a:off x="6728926" y="5974563"/>
              <a:ext cx="0" cy="826883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직사각형 70"/>
            <p:cNvSpPr/>
            <p:nvPr/>
          </p:nvSpPr>
          <p:spPr>
            <a:xfrm>
              <a:off x="7764186" y="6798105"/>
              <a:ext cx="318159" cy="1644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100" dirty="0" smtClean="0">
                  <a:solidFill>
                    <a:schemeClr val="bg2">
                      <a:lumMod val="25000"/>
                    </a:schemeClr>
                  </a:solidFill>
                </a:rPr>
                <a:t>05</a:t>
              </a:r>
              <a:r>
                <a:rPr lang="ko-KR" altLang="en-US" sz="1100" smtClean="0">
                  <a:solidFill>
                    <a:schemeClr val="bg2">
                      <a:lumMod val="25000"/>
                    </a:schemeClr>
                  </a:solidFill>
                </a:rPr>
                <a:t>초</a:t>
              </a:r>
              <a:endParaRPr lang="ko-KR" altLang="en-US" sz="11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cxnSp>
          <p:nvCxnSpPr>
            <p:cNvPr id="72" name="직선 연결선 71"/>
            <p:cNvCxnSpPr/>
            <p:nvPr/>
          </p:nvCxnSpPr>
          <p:spPr>
            <a:xfrm flipH="1" flipV="1">
              <a:off x="7139701" y="5974563"/>
              <a:ext cx="0" cy="826883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직사각형 72"/>
            <p:cNvSpPr/>
            <p:nvPr/>
          </p:nvSpPr>
          <p:spPr>
            <a:xfrm>
              <a:off x="8213062" y="6798105"/>
              <a:ext cx="318159" cy="1644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100" dirty="0" smtClean="0">
                  <a:solidFill>
                    <a:schemeClr val="bg2">
                      <a:lumMod val="25000"/>
                    </a:schemeClr>
                  </a:solidFill>
                </a:rPr>
                <a:t>06</a:t>
              </a:r>
              <a:r>
                <a:rPr lang="ko-KR" altLang="en-US" sz="1100" smtClean="0">
                  <a:solidFill>
                    <a:schemeClr val="bg2">
                      <a:lumMod val="25000"/>
                    </a:schemeClr>
                  </a:solidFill>
                </a:rPr>
                <a:t>초</a:t>
              </a:r>
              <a:endParaRPr lang="ko-KR" altLang="en-US" sz="11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cxnSp>
          <p:nvCxnSpPr>
            <p:cNvPr id="74" name="직선 연결선 73"/>
            <p:cNvCxnSpPr/>
            <p:nvPr/>
          </p:nvCxnSpPr>
          <p:spPr>
            <a:xfrm flipH="1" flipV="1">
              <a:off x="7550477" y="5974563"/>
              <a:ext cx="0" cy="826882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직선 연결선 74"/>
            <p:cNvCxnSpPr/>
            <p:nvPr/>
          </p:nvCxnSpPr>
          <p:spPr>
            <a:xfrm flipH="1">
              <a:off x="5932078" y="6612335"/>
              <a:ext cx="2592797" cy="1796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직선 연결선 75"/>
            <p:cNvCxnSpPr/>
            <p:nvPr/>
          </p:nvCxnSpPr>
          <p:spPr>
            <a:xfrm flipH="1">
              <a:off x="5932078" y="6453652"/>
              <a:ext cx="2592797" cy="1796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직선 연결선 76"/>
            <p:cNvCxnSpPr/>
            <p:nvPr/>
          </p:nvCxnSpPr>
          <p:spPr>
            <a:xfrm flipH="1">
              <a:off x="5932078" y="6294969"/>
              <a:ext cx="2592797" cy="1796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직선 연결선 77"/>
            <p:cNvCxnSpPr/>
            <p:nvPr/>
          </p:nvCxnSpPr>
          <p:spPr>
            <a:xfrm flipH="1">
              <a:off x="5932078" y="6136286"/>
              <a:ext cx="2592797" cy="17965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직사각형 78"/>
            <p:cNvSpPr/>
            <p:nvPr/>
          </p:nvSpPr>
          <p:spPr>
            <a:xfrm>
              <a:off x="5730844" y="6548044"/>
              <a:ext cx="25039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000" dirty="0"/>
                <a:t>1</a:t>
              </a:r>
            </a:p>
          </p:txBody>
        </p:sp>
        <p:sp>
          <p:nvSpPr>
            <p:cNvPr id="80" name="직사각형 79"/>
            <p:cNvSpPr/>
            <p:nvPr/>
          </p:nvSpPr>
          <p:spPr>
            <a:xfrm>
              <a:off x="5730844" y="6376594"/>
              <a:ext cx="25039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000" dirty="0" smtClean="0"/>
                <a:t>2</a:t>
              </a:r>
              <a:endParaRPr lang="en-US" altLang="ko-KR" sz="1000" dirty="0"/>
            </a:p>
          </p:txBody>
        </p:sp>
        <p:sp>
          <p:nvSpPr>
            <p:cNvPr id="81" name="직사각형 80"/>
            <p:cNvSpPr/>
            <p:nvPr/>
          </p:nvSpPr>
          <p:spPr>
            <a:xfrm>
              <a:off x="5730844" y="6205144"/>
              <a:ext cx="25039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000" dirty="0" smtClean="0"/>
                <a:t>3</a:t>
              </a:r>
              <a:endParaRPr lang="en-US" altLang="ko-KR" sz="1000" dirty="0"/>
            </a:p>
          </p:txBody>
        </p:sp>
        <p:sp>
          <p:nvSpPr>
            <p:cNvPr id="82" name="직사각형 81"/>
            <p:cNvSpPr/>
            <p:nvPr/>
          </p:nvSpPr>
          <p:spPr>
            <a:xfrm>
              <a:off x="5730844" y="6033694"/>
              <a:ext cx="25039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000" dirty="0" smtClean="0"/>
                <a:t>4</a:t>
              </a:r>
              <a:endParaRPr lang="en-US" altLang="ko-KR" sz="1000" dirty="0"/>
            </a:p>
          </p:txBody>
        </p:sp>
        <p:cxnSp>
          <p:nvCxnSpPr>
            <p:cNvPr id="83" name="직선 연결선 82"/>
            <p:cNvCxnSpPr/>
            <p:nvPr/>
          </p:nvCxnSpPr>
          <p:spPr>
            <a:xfrm flipH="1" flipV="1">
              <a:off x="7969577" y="5974563"/>
              <a:ext cx="0" cy="826882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직선 연결선 83"/>
            <p:cNvCxnSpPr/>
            <p:nvPr/>
          </p:nvCxnSpPr>
          <p:spPr>
            <a:xfrm flipH="1" flipV="1">
              <a:off x="8407727" y="5965038"/>
              <a:ext cx="0" cy="826882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타원 84"/>
            <p:cNvSpPr>
              <a:spLocks noChangeAspect="1"/>
            </p:cNvSpPr>
            <p:nvPr/>
          </p:nvSpPr>
          <p:spPr>
            <a:xfrm>
              <a:off x="6267364" y="6583768"/>
              <a:ext cx="83821" cy="76953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6" name="타원 85"/>
            <p:cNvSpPr>
              <a:spLocks noChangeAspect="1"/>
            </p:cNvSpPr>
            <p:nvPr/>
          </p:nvSpPr>
          <p:spPr>
            <a:xfrm>
              <a:off x="7096046" y="6434058"/>
              <a:ext cx="83821" cy="76953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7" name="타원 86"/>
            <p:cNvSpPr>
              <a:spLocks noChangeAspect="1"/>
            </p:cNvSpPr>
            <p:nvPr/>
          </p:nvSpPr>
          <p:spPr>
            <a:xfrm>
              <a:off x="7930883" y="6266384"/>
              <a:ext cx="83821" cy="76953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8" name="타원 87"/>
            <p:cNvSpPr>
              <a:spLocks noChangeAspect="1"/>
            </p:cNvSpPr>
            <p:nvPr/>
          </p:nvSpPr>
          <p:spPr>
            <a:xfrm>
              <a:off x="8365670" y="6098709"/>
              <a:ext cx="83821" cy="76953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89" name="TextBox 88"/>
          <p:cNvSpPr txBox="1"/>
          <p:nvPr/>
        </p:nvSpPr>
        <p:spPr>
          <a:xfrm>
            <a:off x="5288214" y="4956880"/>
            <a:ext cx="45034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방법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2)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</a:rPr>
              <a:t>시간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간격을 고려하여 시각화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90" name="직사각형 89">
            <a:hlinkClick r:id="rId2" action="ppaction://hlinksldjump"/>
          </p:cNvPr>
          <p:cNvSpPr/>
          <p:nvPr/>
        </p:nvSpPr>
        <p:spPr>
          <a:xfrm>
            <a:off x="9023838" y="284285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smtClean="0">
                <a:solidFill>
                  <a:schemeClr val="tx1"/>
                </a:solidFill>
              </a:rPr>
              <a:t>돌아가기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255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[</a:t>
            </a:r>
            <a:r>
              <a:rPr lang="ko-KR" altLang="en-US" smtClean="0">
                <a:latin typeface="+mj-ea"/>
              </a:rPr>
              <a:t>참고</a:t>
            </a:r>
            <a:r>
              <a:rPr lang="en-US" altLang="ko-KR" dirty="0" smtClean="0">
                <a:latin typeface="+mj-ea"/>
              </a:rPr>
              <a:t>] </a:t>
            </a:r>
            <a:r>
              <a:rPr lang="ko-KR" altLang="en-US" smtClean="0">
                <a:latin typeface="+mj-ea"/>
              </a:rPr>
              <a:t>모델과 알고리즘</a:t>
            </a:r>
            <a:endParaRPr lang="ko-KR" altLang="en-US" dirty="0">
              <a:latin typeface="+mj-ea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53672" y="4856665"/>
            <a:ext cx="5264613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lvl="0" fontAlgn="base" latinLnBrk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 모델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(Model</a:t>
            </a:r>
            <a:r>
              <a:rPr kumimoji="1" lang="en-US" altLang="ko-KR" sz="1300" b="1" kern="0" dirty="0" smtClean="0">
                <a:solidFill>
                  <a:prstClr val="black"/>
                </a:solidFill>
                <a:sym typeface="Wingdings" panose="05000000000000000000" pitchFamily="2" charset="2"/>
              </a:rPr>
              <a:t>): </a:t>
            </a:r>
            <a:r>
              <a:rPr kumimoji="1" lang="ko-KR" altLang="en-US" sz="1300" b="1" kern="0">
                <a:solidFill>
                  <a:prstClr val="black"/>
                </a:solidFill>
                <a:sym typeface="Wingdings" panose="05000000000000000000" pitchFamily="2" charset="2"/>
              </a:rPr>
              <a:t>데이터로 학습한 머신러닝 알고리즘의 산출물</a:t>
            </a:r>
            <a:endParaRPr kumimoji="1" lang="en-US" altLang="ko-KR" sz="1300" b="1" kern="0" dirty="0" smtClean="0">
              <a:solidFill>
                <a:prstClr val="black"/>
              </a:solidFill>
              <a:sym typeface="Wingdings" panose="05000000000000000000" pitchFamily="2" charset="2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25637" y="854779"/>
            <a:ext cx="4926655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lvl="0" fontAlgn="base" latinLnBrk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 </a:t>
            </a:r>
            <a:r>
              <a:rPr kumimoji="1" lang="ko-KR" altLang="en-US" sz="1300" b="1" kern="0" dirty="0" smtClean="0">
                <a:solidFill>
                  <a:prstClr val="black"/>
                </a:solidFill>
                <a:sym typeface="Wingdings" panose="05000000000000000000" pitchFamily="2" charset="2"/>
              </a:rPr>
              <a:t>알고리즘</a:t>
            </a:r>
            <a:r>
              <a:rPr kumimoji="1" lang="en-US" altLang="ko-KR" sz="1300" b="1" kern="0" dirty="0" smtClean="0">
                <a:solidFill>
                  <a:prstClr val="black"/>
                </a:solidFill>
                <a:sym typeface="Wingdings" panose="05000000000000000000" pitchFamily="2" charset="2"/>
              </a:rPr>
              <a:t>(Algorithm): </a:t>
            </a:r>
            <a:r>
              <a:rPr kumimoji="1" lang="ko-KR" altLang="en-US" sz="1300" b="1" kern="0">
                <a:solidFill>
                  <a:prstClr val="black"/>
                </a:solidFill>
                <a:sym typeface="Wingdings" panose="05000000000000000000" pitchFamily="2" charset="2"/>
              </a:rPr>
              <a:t>코드로 수행되고 데이터로 학습하는 절차</a:t>
            </a:r>
            <a:endParaRPr kumimoji="1" lang="en-US" altLang="ko-KR" sz="13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Wingdings" panose="05000000000000000000" pitchFamily="2" charset="2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263525" y="5174922"/>
            <a:ext cx="4418641" cy="6124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213" lvl="1" indent="-176213" latinLnBrk="0">
              <a:lnSpc>
                <a:spcPct val="120000"/>
              </a:lnSpc>
              <a:spcAft>
                <a:spcPts val="600"/>
              </a:spcAft>
              <a:buFont typeface="맑은 고딕" panose="020B0503020000020004" pitchFamily="50" charset="-127"/>
              <a:buChar char="-"/>
              <a:defRPr/>
            </a:pPr>
            <a:r>
              <a:rPr lang="ko-KR" altLang="en-US" sz="1200" kern="0" dirty="0" smtClean="0">
                <a:solidFill>
                  <a:prstClr val="black"/>
                </a:solidFill>
                <a:sym typeface="Wingdings" panose="05000000000000000000" pitchFamily="2" charset="2"/>
              </a:rPr>
              <a:t>알고리즘에 기반해 실제 연산을 수행한 프로그램</a:t>
            </a:r>
            <a:endParaRPr lang="en-US" altLang="ko-KR" sz="1200" kern="0" dirty="0" smtClean="0">
              <a:solidFill>
                <a:prstClr val="black"/>
              </a:solidFill>
              <a:sym typeface="Wingdings" panose="05000000000000000000" pitchFamily="2" charset="2"/>
            </a:endParaRPr>
          </a:p>
          <a:p>
            <a:pPr marL="176213" lvl="1" indent="-176213" latinLnBrk="0">
              <a:lnSpc>
                <a:spcPct val="120000"/>
              </a:lnSpc>
              <a:spcAft>
                <a:spcPts val="600"/>
              </a:spcAft>
              <a:buFont typeface="맑은 고딕" panose="020B0503020000020004" pitchFamily="50" charset="-127"/>
              <a:buChar char="-"/>
              <a:defRPr/>
            </a:pPr>
            <a:r>
              <a:rPr lang="ko-KR" altLang="en-US" sz="1200" kern="0" dirty="0" err="1" smtClean="0">
                <a:solidFill>
                  <a:prstClr val="black"/>
                </a:solidFill>
                <a:sym typeface="Wingdings" panose="05000000000000000000" pitchFamily="2" charset="2"/>
              </a:rPr>
              <a:t>양불판정</a:t>
            </a:r>
            <a:r>
              <a:rPr lang="ko-KR" altLang="en-US" sz="1200" kern="0" dirty="0" smtClean="0">
                <a:solidFill>
                  <a:prstClr val="black"/>
                </a:solidFill>
                <a:sym typeface="Wingdings" panose="05000000000000000000" pitchFamily="2" charset="2"/>
              </a:rPr>
              <a:t> 모델</a:t>
            </a:r>
            <a:r>
              <a:rPr lang="en-US" altLang="ko-KR" sz="1200" kern="0" dirty="0" smtClean="0">
                <a:solidFill>
                  <a:prstClr val="black"/>
                </a:solidFill>
                <a:sym typeface="Wingdings" panose="05000000000000000000" pitchFamily="2" charset="2"/>
              </a:rPr>
              <a:t>, </a:t>
            </a:r>
            <a:r>
              <a:rPr lang="ko-KR" altLang="en-US" sz="1200" kern="0" smtClean="0">
                <a:solidFill>
                  <a:prstClr val="black"/>
                </a:solidFill>
                <a:sym typeface="Wingdings" panose="05000000000000000000" pitchFamily="2" charset="2"/>
              </a:rPr>
              <a:t>잔존수명 예측 모델</a:t>
            </a:r>
            <a:r>
              <a:rPr lang="en-US" altLang="ko-KR" sz="1200" kern="0" dirty="0" smtClean="0">
                <a:solidFill>
                  <a:prstClr val="black"/>
                </a:solidFill>
                <a:sym typeface="Wingdings" panose="05000000000000000000" pitchFamily="2" charset="2"/>
              </a:rPr>
              <a:t>, </a:t>
            </a:r>
            <a:r>
              <a:rPr lang="ko-KR" altLang="en-US" sz="1200" kern="0" smtClean="0">
                <a:solidFill>
                  <a:prstClr val="black"/>
                </a:solidFill>
                <a:sym typeface="Wingdings" panose="05000000000000000000" pitchFamily="2" charset="2"/>
              </a:rPr>
              <a:t>상품 추천 모델 등</a:t>
            </a:r>
            <a:r>
              <a:rPr lang="en-US" altLang="ko-KR" sz="1200" kern="0" dirty="0" smtClean="0">
                <a:solidFill>
                  <a:prstClr val="black"/>
                </a:solidFill>
                <a:sym typeface="Wingdings" panose="05000000000000000000" pitchFamily="2" charset="2"/>
              </a:rPr>
              <a:t> </a:t>
            </a:r>
            <a:r>
              <a:rPr lang="ko-KR" altLang="en-US" sz="1200" kern="0" smtClean="0">
                <a:solidFill>
                  <a:prstClr val="black"/>
                </a:solidFill>
                <a:sym typeface="Wingdings" panose="05000000000000000000" pitchFamily="2" charset="2"/>
              </a:rPr>
              <a:t> </a:t>
            </a:r>
            <a:endParaRPr lang="en-US" altLang="ko-KR" sz="1200" kern="0" dirty="0">
              <a:solidFill>
                <a:prstClr val="black"/>
              </a:solidFill>
              <a:sym typeface="Wingdings" panose="05000000000000000000" pitchFamily="2" charset="2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562708" y="5944868"/>
            <a:ext cx="8924192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latinLnBrk="0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à"/>
              <a:defRPr/>
            </a:pPr>
            <a:r>
              <a:rPr lang="en-US" altLang="ko-KR" sz="1350" b="1" kern="0" dirty="0" smtClean="0">
                <a:solidFill>
                  <a:prstClr val="black"/>
                </a:solidFill>
                <a:latin typeface="+mn-ea"/>
                <a:sym typeface="Wingdings" panose="05000000000000000000" pitchFamily="2" charset="2"/>
              </a:rPr>
              <a:t>LS</a:t>
            </a:r>
            <a:r>
              <a:rPr lang="ko-KR" altLang="en-US" sz="1350" b="1" kern="0" smtClean="0">
                <a:solidFill>
                  <a:prstClr val="black"/>
                </a:solidFill>
                <a:latin typeface="+mn-ea"/>
                <a:sym typeface="Wingdings" panose="05000000000000000000" pitchFamily="2" charset="2"/>
              </a:rPr>
              <a:t>글로벌은 알고리즘을 만들지는 않고</a:t>
            </a:r>
            <a:r>
              <a:rPr lang="en-US" altLang="ko-KR" sz="1350" b="1" kern="0" dirty="0" smtClean="0">
                <a:solidFill>
                  <a:prstClr val="black"/>
                </a:solidFill>
                <a:latin typeface="+mn-ea"/>
                <a:sym typeface="Wingdings" panose="05000000000000000000" pitchFamily="2" charset="2"/>
              </a:rPr>
              <a:t>, </a:t>
            </a:r>
            <a:r>
              <a:rPr lang="ko-KR" altLang="en-US" sz="1350" b="1" kern="0" smtClean="0">
                <a:solidFill>
                  <a:prstClr val="black"/>
                </a:solidFill>
                <a:latin typeface="+mn-ea"/>
                <a:sym typeface="Wingdings" panose="05000000000000000000" pitchFamily="2" charset="2"/>
              </a:rPr>
              <a:t>알고리즘을 </a:t>
            </a:r>
            <a:r>
              <a:rPr lang="ko-KR" altLang="en-US" sz="1350" b="1" kern="0" dirty="0">
                <a:solidFill>
                  <a:prstClr val="black"/>
                </a:solidFill>
                <a:latin typeface="+mn-ea"/>
                <a:sym typeface="Wingdings" panose="05000000000000000000" pitchFamily="2" charset="2"/>
              </a:rPr>
              <a:t>이용하여 </a:t>
            </a:r>
            <a:r>
              <a:rPr lang="ko-KR" altLang="en-US" sz="1350" b="1" kern="0" dirty="0" err="1">
                <a:solidFill>
                  <a:prstClr val="black"/>
                </a:solidFill>
                <a:latin typeface="+mn-ea"/>
                <a:sym typeface="Wingdings" panose="05000000000000000000" pitchFamily="2" charset="2"/>
              </a:rPr>
              <a:t>양불판정</a:t>
            </a:r>
            <a:r>
              <a:rPr lang="ko-KR" altLang="en-US" sz="1350" b="1" kern="0" dirty="0">
                <a:solidFill>
                  <a:prstClr val="black"/>
                </a:solidFill>
                <a:latin typeface="+mn-ea"/>
                <a:sym typeface="Wingdings" panose="05000000000000000000" pitchFamily="2" charset="2"/>
              </a:rPr>
              <a:t> </a:t>
            </a:r>
            <a:r>
              <a:rPr lang="ko-KR" altLang="en-US" sz="1350" b="1" kern="0">
                <a:solidFill>
                  <a:prstClr val="black"/>
                </a:solidFill>
                <a:latin typeface="+mn-ea"/>
                <a:sym typeface="Wingdings" panose="05000000000000000000" pitchFamily="2" charset="2"/>
              </a:rPr>
              <a:t>모델을 </a:t>
            </a:r>
            <a:r>
              <a:rPr lang="ko-KR" altLang="en-US" sz="1350" b="1" kern="0" smtClean="0">
                <a:solidFill>
                  <a:prstClr val="black"/>
                </a:solidFill>
                <a:latin typeface="+mn-ea"/>
                <a:sym typeface="Wingdings" panose="05000000000000000000" pitchFamily="2" charset="2"/>
              </a:rPr>
              <a:t>만듬</a:t>
            </a:r>
            <a:endParaRPr lang="en-US" altLang="ko-KR" sz="1350" b="1" kern="0" dirty="0">
              <a:solidFill>
                <a:prstClr val="black"/>
              </a:solidFill>
              <a:latin typeface="+mn-ea"/>
              <a:sym typeface="Wingdings" panose="05000000000000000000" pitchFamily="2" charset="2"/>
            </a:endParaRPr>
          </a:p>
        </p:txBody>
      </p:sp>
      <p:grpSp>
        <p:nvGrpSpPr>
          <p:cNvPr id="43" name="그룹 42"/>
          <p:cNvGrpSpPr/>
          <p:nvPr/>
        </p:nvGrpSpPr>
        <p:grpSpPr>
          <a:xfrm>
            <a:off x="589778" y="1218935"/>
            <a:ext cx="8774030" cy="3408864"/>
            <a:chOff x="589778" y="2836720"/>
            <a:chExt cx="8672342" cy="3408864"/>
          </a:xfrm>
        </p:grpSpPr>
        <p:sp>
          <p:nvSpPr>
            <p:cNvPr id="44" name="모서리가 둥근 직사각형 43"/>
            <p:cNvSpPr/>
            <p:nvPr/>
          </p:nvSpPr>
          <p:spPr>
            <a:xfrm>
              <a:off x="3557949" y="4947782"/>
              <a:ext cx="2736000" cy="1297802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sysDot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000" tIns="9525" rIns="9525" bIns="9525" numCol="1" spcCol="1270" anchor="ctr" anchorCtr="0">
              <a:noAutofit/>
            </a:bodyPr>
            <a:lstStyle/>
            <a:p>
              <a:pPr marL="171450" lvl="0" indent="-171450" defTabSz="66675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endParaRPr lang="en-US" altLang="ko-KR" sz="900" dirty="0" smtClean="0">
                <a:solidFill>
                  <a:schemeClr val="tx1"/>
                </a:solidFill>
              </a:endParaRPr>
            </a:p>
            <a:p>
              <a:pPr marL="171450" lvl="0" indent="-171450" defTabSz="66675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ko-KR" altLang="en-US" sz="900" dirty="0" smtClean="0">
                  <a:solidFill>
                    <a:schemeClr val="tx1"/>
                  </a:solidFill>
                </a:rPr>
                <a:t>랜덤 </a:t>
              </a:r>
              <a:r>
                <a:rPr lang="ko-KR" altLang="en-US" sz="900" dirty="0" err="1" smtClean="0">
                  <a:solidFill>
                    <a:schemeClr val="tx1"/>
                  </a:solidFill>
                </a:rPr>
                <a:t>포레스트</a:t>
              </a:r>
              <a:r>
                <a:rPr lang="ko-KR" altLang="en-US" sz="900" dirty="0" smtClean="0">
                  <a:solidFill>
                    <a:schemeClr val="tx1"/>
                  </a:solidFill>
                </a:rPr>
                <a:t> 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(Random Forest)</a:t>
              </a:r>
            </a:p>
            <a:p>
              <a:pPr marL="171450" lvl="0" indent="-17145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ko-KR" altLang="en-US" sz="900" dirty="0" err="1">
                  <a:solidFill>
                    <a:schemeClr val="tx1"/>
                  </a:solidFill>
                </a:rPr>
                <a:t>서포트</a:t>
              </a:r>
              <a:r>
                <a:rPr lang="ko-KR" altLang="en-US" sz="900" dirty="0">
                  <a:solidFill>
                    <a:schemeClr val="tx1"/>
                  </a:solidFill>
                </a:rPr>
                <a:t> </a:t>
              </a:r>
              <a:r>
                <a:rPr lang="ko-KR" altLang="en-US" sz="900" dirty="0" smtClean="0">
                  <a:solidFill>
                    <a:schemeClr val="tx1"/>
                  </a:solidFill>
                </a:rPr>
                <a:t>벡터 머신 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(</a:t>
              </a:r>
              <a:r>
                <a:rPr lang="en-US" altLang="ko-KR" sz="900" dirty="0">
                  <a:solidFill>
                    <a:schemeClr val="tx1"/>
                  </a:solidFill>
                </a:rPr>
                <a:t>Support Vector Machine)</a:t>
              </a:r>
            </a:p>
            <a:p>
              <a:pPr marL="171450" lvl="0" indent="-17145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ko-KR" altLang="en-US" sz="900" dirty="0" smtClean="0">
                  <a:solidFill>
                    <a:schemeClr val="tx1"/>
                  </a:solidFill>
                </a:rPr>
                <a:t>의사결정나무 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(Decision Tree</a:t>
              </a:r>
              <a:r>
                <a:rPr lang="en-US" altLang="ko-KR" sz="900" dirty="0">
                  <a:solidFill>
                    <a:schemeClr val="tx1"/>
                  </a:solidFill>
                </a:rPr>
                <a:t>)</a:t>
              </a:r>
            </a:p>
            <a:p>
              <a:pPr marL="171450" lvl="0" indent="-17145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altLang="ko-KR" sz="900" dirty="0">
                  <a:solidFill>
                    <a:schemeClr val="tx1"/>
                  </a:solidFill>
                </a:rPr>
                <a:t>K-</a:t>
              </a:r>
              <a:r>
                <a:rPr lang="ko-KR" altLang="en-US" sz="900" dirty="0" err="1">
                  <a:solidFill>
                    <a:schemeClr val="tx1"/>
                  </a:solidFill>
                </a:rPr>
                <a:t>최근접</a:t>
              </a:r>
              <a:r>
                <a:rPr lang="ko-KR" altLang="en-US" sz="900" dirty="0">
                  <a:solidFill>
                    <a:schemeClr val="tx1"/>
                  </a:solidFill>
                </a:rPr>
                <a:t> 이웃 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(</a:t>
              </a:r>
              <a:r>
                <a:rPr lang="en-US" altLang="ko-KR" sz="900" dirty="0">
                  <a:solidFill>
                    <a:schemeClr val="tx1"/>
                  </a:solidFill>
                </a:rPr>
                <a:t>K-Nearest Neighbor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)</a:t>
              </a:r>
              <a:endParaRPr lang="en-US" altLang="ko-KR" sz="900" dirty="0">
                <a:solidFill>
                  <a:schemeClr val="tx1"/>
                </a:solidFill>
              </a:endParaRPr>
            </a:p>
          </p:txBody>
        </p:sp>
        <p:sp>
          <p:nvSpPr>
            <p:cNvPr id="54" name="모서리가 둥근 직사각형 53"/>
            <p:cNvSpPr/>
            <p:nvPr/>
          </p:nvSpPr>
          <p:spPr>
            <a:xfrm>
              <a:off x="589778" y="4947782"/>
              <a:ext cx="2736000" cy="1297802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sysDot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000" tIns="9525" rIns="9525" bIns="0" numCol="1" spcCol="1270" anchor="ctr" anchorCtr="0">
              <a:spAutoFit/>
            </a:bodyPr>
            <a:lstStyle/>
            <a:p>
              <a:pPr marL="171450" lvl="0" indent="-171450" defTabSz="66675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endParaRPr lang="en-US" altLang="ko-KR" sz="900" dirty="0" smtClean="0">
                <a:solidFill>
                  <a:schemeClr val="tx1"/>
                </a:solidFill>
              </a:endParaRPr>
            </a:p>
            <a:p>
              <a:pPr marL="171450" lvl="0" indent="-171450" defTabSz="666750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ko-KR" altLang="en-US" sz="900" dirty="0" smtClean="0">
                  <a:solidFill>
                    <a:schemeClr val="tx1"/>
                  </a:solidFill>
                </a:rPr>
                <a:t>랜덤 </a:t>
              </a:r>
              <a:r>
                <a:rPr lang="ko-KR" altLang="en-US" sz="900" dirty="0" err="1" smtClean="0">
                  <a:solidFill>
                    <a:schemeClr val="tx1"/>
                  </a:solidFill>
                </a:rPr>
                <a:t>포레스트</a:t>
              </a:r>
              <a:r>
                <a:rPr lang="ko-KR" altLang="en-US" sz="900" dirty="0" smtClean="0">
                  <a:solidFill>
                    <a:schemeClr val="tx1"/>
                  </a:solidFill>
                </a:rPr>
                <a:t> 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(Random Forest)</a:t>
              </a:r>
            </a:p>
            <a:p>
              <a:pPr marL="171450" lvl="0" indent="-17145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ko-KR" altLang="en-US" sz="900" dirty="0" err="1">
                  <a:solidFill>
                    <a:schemeClr val="tx1"/>
                  </a:solidFill>
                </a:rPr>
                <a:t>서포트</a:t>
              </a:r>
              <a:r>
                <a:rPr lang="ko-KR" altLang="en-US" sz="900" dirty="0">
                  <a:solidFill>
                    <a:schemeClr val="tx1"/>
                  </a:solidFill>
                </a:rPr>
                <a:t> </a:t>
              </a:r>
              <a:r>
                <a:rPr lang="ko-KR" altLang="en-US" sz="900" dirty="0" smtClean="0">
                  <a:solidFill>
                    <a:schemeClr val="tx1"/>
                  </a:solidFill>
                </a:rPr>
                <a:t>벡터 머신 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(</a:t>
              </a:r>
              <a:r>
                <a:rPr lang="en-US" altLang="ko-KR" sz="900" dirty="0">
                  <a:solidFill>
                    <a:schemeClr val="tx1"/>
                  </a:solidFill>
                </a:rPr>
                <a:t>Support Vector Machine)</a:t>
              </a:r>
            </a:p>
            <a:p>
              <a:pPr marL="171450" lvl="0" indent="-17145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ko-KR" altLang="en-US" sz="900" dirty="0" err="1">
                  <a:solidFill>
                    <a:schemeClr val="tx1"/>
                  </a:solidFill>
                </a:rPr>
                <a:t>로지스틱</a:t>
              </a:r>
              <a:r>
                <a:rPr lang="ko-KR" altLang="en-US" sz="900" dirty="0">
                  <a:solidFill>
                    <a:schemeClr val="tx1"/>
                  </a:solidFill>
                </a:rPr>
                <a:t> 회귀 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(</a:t>
              </a:r>
              <a:r>
                <a:rPr lang="en-US" altLang="ko-KR" sz="900" dirty="0">
                  <a:solidFill>
                    <a:schemeClr val="tx1"/>
                  </a:solidFill>
                </a:rPr>
                <a:t>Logistic Regression)</a:t>
              </a:r>
            </a:p>
            <a:p>
              <a:pPr marL="171450" lvl="0" indent="-17145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ko-KR" altLang="en-US" sz="900" dirty="0">
                  <a:solidFill>
                    <a:schemeClr val="tx1"/>
                  </a:solidFill>
                </a:rPr>
                <a:t>인공 신경망 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(</a:t>
              </a:r>
              <a:r>
                <a:rPr lang="en-US" altLang="ko-KR" sz="900" dirty="0">
                  <a:solidFill>
                    <a:schemeClr val="tx1"/>
                  </a:solidFill>
                </a:rPr>
                <a:t>Artificial Neural Network)</a:t>
              </a:r>
            </a:p>
            <a:p>
              <a:pPr marL="171450" lvl="0" indent="-17145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ko-KR" altLang="en-US" sz="900" dirty="0" smtClean="0">
                  <a:solidFill>
                    <a:schemeClr val="tx1"/>
                  </a:solidFill>
                </a:rPr>
                <a:t>의사결정나무 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(Decision Tree</a:t>
              </a:r>
              <a:r>
                <a:rPr lang="en-US" altLang="ko-KR" sz="900" dirty="0">
                  <a:solidFill>
                    <a:schemeClr val="tx1"/>
                  </a:solidFill>
                </a:rPr>
                <a:t>)</a:t>
              </a:r>
            </a:p>
            <a:p>
              <a:pPr marL="171450" lvl="0" indent="-17145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altLang="ko-KR" sz="900" dirty="0">
                  <a:solidFill>
                    <a:schemeClr val="tx1"/>
                  </a:solidFill>
                </a:rPr>
                <a:t>K-</a:t>
              </a:r>
              <a:r>
                <a:rPr lang="ko-KR" altLang="en-US" sz="900" dirty="0" err="1">
                  <a:solidFill>
                    <a:schemeClr val="tx1"/>
                  </a:solidFill>
                </a:rPr>
                <a:t>최근접</a:t>
              </a:r>
              <a:r>
                <a:rPr lang="ko-KR" altLang="en-US" sz="900" dirty="0">
                  <a:solidFill>
                    <a:schemeClr val="tx1"/>
                  </a:solidFill>
                </a:rPr>
                <a:t> 이웃 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(</a:t>
              </a:r>
              <a:r>
                <a:rPr lang="en-US" altLang="ko-KR" sz="900" dirty="0">
                  <a:solidFill>
                    <a:schemeClr val="tx1"/>
                  </a:solidFill>
                </a:rPr>
                <a:t>K-Nearest Neighbor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)</a:t>
              </a:r>
              <a:endParaRPr lang="en-US" altLang="ko-KR" sz="900" dirty="0">
                <a:solidFill>
                  <a:schemeClr val="tx1"/>
                </a:solidFill>
              </a:endParaRPr>
            </a:p>
          </p:txBody>
        </p:sp>
        <p:sp>
          <p:nvSpPr>
            <p:cNvPr id="59" name="모서리가 둥근 직사각형 58"/>
            <p:cNvSpPr/>
            <p:nvPr/>
          </p:nvSpPr>
          <p:spPr>
            <a:xfrm>
              <a:off x="6526120" y="4947782"/>
              <a:ext cx="2736000" cy="1297802"/>
            </a:xfrm>
            <a:prstGeom prst="round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sysDot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000" tIns="9525" rIns="9525" bIns="9525" numCol="1" spcCol="1270" anchor="ctr" anchorCtr="0">
              <a:noAutofit/>
            </a:bodyPr>
            <a:lstStyle/>
            <a:p>
              <a:pPr marL="171450" lvl="0" indent="-17145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altLang="ko-KR" sz="900" dirty="0">
                  <a:solidFill>
                    <a:schemeClr val="tx1"/>
                  </a:solidFill>
                </a:rPr>
                <a:t>K-</a:t>
              </a:r>
              <a:r>
                <a:rPr lang="ko-KR" altLang="en-US" sz="900" dirty="0">
                  <a:solidFill>
                    <a:schemeClr val="tx1"/>
                  </a:solidFill>
                </a:rPr>
                <a:t>평균 </a:t>
              </a:r>
              <a:r>
                <a:rPr lang="ko-KR" altLang="en-US" sz="900" dirty="0" smtClean="0">
                  <a:solidFill>
                    <a:schemeClr val="tx1"/>
                  </a:solidFill>
                </a:rPr>
                <a:t>군집 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(</a:t>
              </a:r>
              <a:r>
                <a:rPr lang="en-US" altLang="ko-KR" sz="900" dirty="0">
                  <a:solidFill>
                    <a:schemeClr val="tx1"/>
                  </a:solidFill>
                </a:rPr>
                <a:t>K-means Clustering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)</a:t>
              </a:r>
            </a:p>
            <a:p>
              <a:pPr marL="171450" lvl="0" indent="-17145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ko-KR" altLang="en-US" sz="900" dirty="0" smtClean="0">
                  <a:solidFill>
                    <a:schemeClr val="tx1"/>
                  </a:solidFill>
                </a:rPr>
                <a:t>주성분 분석</a:t>
              </a:r>
              <a:r>
                <a:rPr lang="en-US" altLang="ko-KR" sz="900" dirty="0">
                  <a:solidFill>
                    <a:schemeClr val="tx1"/>
                  </a:solidFill>
                </a:rPr>
                <a:t>(Principal C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omponent </a:t>
              </a:r>
              <a:r>
                <a:rPr lang="en-US" altLang="ko-KR" sz="900" dirty="0">
                  <a:solidFill>
                    <a:schemeClr val="tx1"/>
                  </a:solidFill>
                </a:rPr>
                <a:t>A</a:t>
              </a:r>
              <a:r>
                <a:rPr lang="en-US" altLang="ko-KR" sz="900" dirty="0" smtClean="0">
                  <a:solidFill>
                    <a:schemeClr val="tx1"/>
                  </a:solidFill>
                </a:rPr>
                <a:t>nalysis</a:t>
              </a:r>
              <a:r>
                <a:rPr lang="en-US" altLang="ko-KR" sz="900" dirty="0">
                  <a:solidFill>
                    <a:schemeClr val="tx1"/>
                  </a:solidFill>
                </a:rPr>
                <a:t>)</a:t>
              </a:r>
            </a:p>
          </p:txBody>
        </p:sp>
        <p:sp>
          <p:nvSpPr>
            <p:cNvPr id="66" name="모서리가 둥근 직사각형 65"/>
            <p:cNvSpPr/>
            <p:nvPr/>
          </p:nvSpPr>
          <p:spPr>
            <a:xfrm>
              <a:off x="4015575" y="2836720"/>
              <a:ext cx="1836000" cy="360000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b="1" dirty="0" smtClean="0"/>
                <a:t>알고리즘 </a:t>
              </a:r>
              <a:r>
                <a:rPr lang="en-US" altLang="ko-KR" sz="1200" b="1" dirty="0" smtClean="0"/>
                <a:t>(Algorithm)</a:t>
              </a:r>
              <a:endParaRPr lang="ko-KR" altLang="en-US" sz="1200" b="1" dirty="0"/>
            </a:p>
          </p:txBody>
        </p:sp>
        <p:sp>
          <p:nvSpPr>
            <p:cNvPr id="67" name="모서리가 둥근 직사각형 66"/>
            <p:cNvSpPr/>
            <p:nvPr/>
          </p:nvSpPr>
          <p:spPr>
            <a:xfrm>
              <a:off x="861870" y="4059240"/>
              <a:ext cx="2183176" cy="468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b="1" dirty="0" smtClean="0">
                  <a:solidFill>
                    <a:schemeClr val="tx1"/>
                  </a:solidFill>
                </a:rPr>
                <a:t>지도학습</a:t>
              </a:r>
              <a:r>
                <a:rPr lang="en-US" altLang="ko-KR" sz="1200" b="1" dirty="0" smtClean="0">
                  <a:solidFill>
                    <a:schemeClr val="tx1"/>
                  </a:solidFill>
                </a:rPr>
                <a:t/>
              </a:r>
              <a:br>
                <a:rPr lang="en-US" altLang="ko-KR" sz="1200" b="1" dirty="0" smtClean="0">
                  <a:solidFill>
                    <a:schemeClr val="tx1"/>
                  </a:solidFill>
                </a:rPr>
              </a:br>
              <a:r>
                <a:rPr lang="en-US" altLang="ko-KR" sz="1200" b="1" dirty="0" smtClean="0">
                  <a:solidFill>
                    <a:schemeClr val="tx1"/>
                  </a:solidFill>
                </a:rPr>
                <a:t>(Supervised Learning)</a:t>
              </a:r>
              <a:endParaRPr lang="ko-KR" alt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68" name="모서리가 둥근 직사각형 67"/>
            <p:cNvSpPr/>
            <p:nvPr/>
          </p:nvSpPr>
          <p:spPr>
            <a:xfrm>
              <a:off x="3834361" y="4058258"/>
              <a:ext cx="2183176" cy="46800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b="1" dirty="0" err="1">
                  <a:solidFill>
                    <a:schemeClr val="tx1"/>
                  </a:solidFill>
                </a:rPr>
                <a:t>준</a:t>
              </a:r>
              <a:r>
                <a:rPr lang="ko-KR" altLang="en-US" sz="1200" b="1" dirty="0" err="1" smtClean="0">
                  <a:solidFill>
                    <a:schemeClr val="tx1"/>
                  </a:solidFill>
                </a:rPr>
                <a:t>지도학습</a:t>
              </a:r>
              <a:r>
                <a:rPr lang="en-US" altLang="ko-KR" sz="1200" b="1" dirty="0" smtClean="0">
                  <a:solidFill>
                    <a:schemeClr val="tx1"/>
                  </a:solidFill>
                </a:rPr>
                <a:t/>
              </a:r>
              <a:br>
                <a:rPr lang="en-US" altLang="ko-KR" sz="1200" b="1" dirty="0" smtClean="0">
                  <a:solidFill>
                    <a:schemeClr val="tx1"/>
                  </a:solidFill>
                </a:rPr>
              </a:br>
              <a:r>
                <a:rPr lang="en-US" altLang="ko-KR" sz="1200" b="1" dirty="0" smtClean="0">
                  <a:solidFill>
                    <a:schemeClr val="tx1"/>
                  </a:solidFill>
                </a:rPr>
                <a:t>(Semi-supervised Learning)</a:t>
              </a:r>
              <a:endParaRPr lang="ko-KR" alt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69" name="모서리가 둥근 직사각형 68"/>
            <p:cNvSpPr/>
            <p:nvPr/>
          </p:nvSpPr>
          <p:spPr>
            <a:xfrm>
              <a:off x="6806624" y="4058258"/>
              <a:ext cx="2183176" cy="468000"/>
            </a:xfrm>
            <a:prstGeom prst="roundRect">
              <a:avLst/>
            </a:prstGeom>
            <a:solidFill>
              <a:schemeClr val="accent1">
                <a:lumMod val="75000"/>
                <a:alpha val="7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b="1" dirty="0" err="1">
                  <a:solidFill>
                    <a:schemeClr val="tx1"/>
                  </a:solidFill>
                </a:rPr>
                <a:t>비</a:t>
              </a:r>
              <a:r>
                <a:rPr lang="ko-KR" altLang="en-US" sz="1200" b="1" dirty="0" err="1" smtClean="0">
                  <a:solidFill>
                    <a:schemeClr val="tx1"/>
                  </a:solidFill>
                </a:rPr>
                <a:t>지도학습</a:t>
              </a:r>
              <a:r>
                <a:rPr lang="en-US" altLang="ko-KR" sz="1200" b="1" dirty="0" smtClean="0">
                  <a:solidFill>
                    <a:schemeClr val="tx1"/>
                  </a:solidFill>
                </a:rPr>
                <a:t/>
              </a:r>
              <a:br>
                <a:rPr lang="en-US" altLang="ko-KR" sz="1200" b="1" dirty="0" smtClean="0">
                  <a:solidFill>
                    <a:schemeClr val="tx1"/>
                  </a:solidFill>
                </a:rPr>
              </a:br>
              <a:r>
                <a:rPr lang="en-US" altLang="ko-KR" sz="1200" b="1" dirty="0" smtClean="0">
                  <a:solidFill>
                    <a:schemeClr val="tx1"/>
                  </a:solidFill>
                </a:rPr>
                <a:t>(Unsupervised Learning)</a:t>
              </a:r>
              <a:endParaRPr lang="ko-KR" alt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70" name="모서리가 둥근 직사각형 69"/>
            <p:cNvSpPr/>
            <p:nvPr/>
          </p:nvSpPr>
          <p:spPr>
            <a:xfrm>
              <a:off x="7062378" y="4788043"/>
              <a:ext cx="1671667" cy="31160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b="1" dirty="0" smtClean="0">
                  <a:solidFill>
                    <a:schemeClr val="tx1"/>
                  </a:solidFill>
                </a:rPr>
                <a:t>군집 </a:t>
              </a:r>
              <a:r>
                <a:rPr lang="en-US" altLang="ko-KR" sz="1200" b="1" dirty="0" smtClean="0">
                  <a:solidFill>
                    <a:schemeClr val="tx1"/>
                  </a:solidFill>
                </a:rPr>
                <a:t>(Clustering)</a:t>
              </a:r>
              <a:endParaRPr lang="ko-KR" alt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71" name="모서리가 둥근 직사각형 70"/>
            <p:cNvSpPr/>
            <p:nvPr/>
          </p:nvSpPr>
          <p:spPr>
            <a:xfrm>
              <a:off x="4090116" y="4788043"/>
              <a:ext cx="1671667" cy="31160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b="1" dirty="0" smtClean="0">
                  <a:solidFill>
                    <a:schemeClr val="tx1"/>
                  </a:solidFill>
                </a:rPr>
                <a:t>회귀 </a:t>
              </a:r>
              <a:r>
                <a:rPr lang="en-US" altLang="ko-KR" sz="1200" b="1" dirty="0" smtClean="0">
                  <a:solidFill>
                    <a:schemeClr val="tx1"/>
                  </a:solidFill>
                </a:rPr>
                <a:t>(Regression)</a:t>
              </a:r>
              <a:endParaRPr lang="ko-KR" alt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72" name="모서리가 둥근 직사각형 71"/>
            <p:cNvSpPr/>
            <p:nvPr/>
          </p:nvSpPr>
          <p:spPr>
            <a:xfrm>
              <a:off x="1117624" y="4789025"/>
              <a:ext cx="1671667" cy="31160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1200" b="1" dirty="0" smtClean="0">
                  <a:solidFill>
                    <a:schemeClr val="tx1"/>
                  </a:solidFill>
                </a:rPr>
                <a:t>분류 </a:t>
              </a:r>
              <a:r>
                <a:rPr lang="en-US" altLang="ko-KR" sz="1200" b="1" dirty="0" smtClean="0">
                  <a:solidFill>
                    <a:schemeClr val="tx1"/>
                  </a:solidFill>
                </a:rPr>
                <a:t>(Classification)</a:t>
              </a:r>
              <a:endParaRPr lang="ko-KR" altLang="en-US" sz="1200" b="1" dirty="0">
                <a:solidFill>
                  <a:schemeClr val="tx1"/>
                </a:solidFill>
              </a:endParaRPr>
            </a:p>
          </p:txBody>
        </p:sp>
        <p:cxnSp>
          <p:nvCxnSpPr>
            <p:cNvPr id="73" name="꺾인 연결선 72"/>
            <p:cNvCxnSpPr>
              <a:stCxn id="66" idx="2"/>
              <a:endCxn id="68" idx="0"/>
            </p:cNvCxnSpPr>
            <p:nvPr/>
          </p:nvCxnSpPr>
          <p:spPr>
            <a:xfrm rot="5400000">
              <a:off x="4498993" y="3623676"/>
              <a:ext cx="861538" cy="7626"/>
            </a:xfrm>
            <a:prstGeom prst="bentConnector3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꺾인 연결선 73"/>
            <p:cNvCxnSpPr>
              <a:stCxn id="66" idx="2"/>
              <a:endCxn id="67" idx="0"/>
            </p:cNvCxnSpPr>
            <p:nvPr/>
          </p:nvCxnSpPr>
          <p:spPr>
            <a:xfrm rot="5400000">
              <a:off x="3012257" y="2137922"/>
              <a:ext cx="862520" cy="2980117"/>
            </a:xfrm>
            <a:prstGeom prst="bentConnector3">
              <a:avLst>
                <a:gd name="adj1" fmla="val 70586"/>
              </a:avLst>
            </a:prstGeom>
            <a:ln w="19050">
              <a:solidFill>
                <a:schemeClr val="bg1">
                  <a:lumMod val="50000"/>
                  <a:alpha val="8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꺾인 연결선 74"/>
            <p:cNvCxnSpPr/>
            <p:nvPr/>
          </p:nvCxnSpPr>
          <p:spPr>
            <a:xfrm rot="16200000" flipH="1">
              <a:off x="5976246" y="2145170"/>
              <a:ext cx="861538" cy="2964637"/>
            </a:xfrm>
            <a:prstGeom prst="bentConnector3">
              <a:avLst>
                <a:gd name="adj1" fmla="val 70609"/>
              </a:avLst>
            </a:prstGeom>
            <a:ln w="19050">
              <a:solidFill>
                <a:schemeClr val="bg1">
                  <a:lumMod val="50000"/>
                  <a:alpha val="8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직선 연결선 75"/>
            <p:cNvCxnSpPr>
              <a:stCxn id="67" idx="2"/>
              <a:endCxn id="71" idx="0"/>
            </p:cNvCxnSpPr>
            <p:nvPr/>
          </p:nvCxnSpPr>
          <p:spPr>
            <a:xfrm>
              <a:off x="1953458" y="4527240"/>
              <a:ext cx="2972492" cy="260803"/>
            </a:xfrm>
            <a:prstGeom prst="line">
              <a:avLst/>
            </a:prstGeom>
            <a:ln w="19050">
              <a:solidFill>
                <a:schemeClr val="bg1">
                  <a:lumMod val="50000"/>
                  <a:alpha val="8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직선 연결선 76"/>
            <p:cNvCxnSpPr>
              <a:stCxn id="68" idx="2"/>
              <a:endCxn id="72" idx="0"/>
            </p:cNvCxnSpPr>
            <p:nvPr/>
          </p:nvCxnSpPr>
          <p:spPr>
            <a:xfrm flipH="1">
              <a:off x="1953458" y="4526258"/>
              <a:ext cx="2972491" cy="262767"/>
            </a:xfrm>
            <a:prstGeom prst="line">
              <a:avLst/>
            </a:prstGeom>
            <a:ln w="19050">
              <a:solidFill>
                <a:schemeClr val="bg1">
                  <a:lumMod val="50000"/>
                  <a:alpha val="8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직선 연결선 77"/>
            <p:cNvCxnSpPr>
              <a:stCxn id="68" idx="2"/>
              <a:endCxn id="71" idx="0"/>
            </p:cNvCxnSpPr>
            <p:nvPr/>
          </p:nvCxnSpPr>
          <p:spPr>
            <a:xfrm>
              <a:off x="4925949" y="4526258"/>
              <a:ext cx="1" cy="261785"/>
            </a:xfrm>
            <a:prstGeom prst="line">
              <a:avLst/>
            </a:prstGeom>
            <a:ln w="19050">
              <a:solidFill>
                <a:schemeClr val="bg1">
                  <a:lumMod val="50000"/>
                  <a:alpha val="8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직선 연결선 78"/>
            <p:cNvCxnSpPr>
              <a:stCxn id="67" idx="2"/>
              <a:endCxn id="72" idx="0"/>
            </p:cNvCxnSpPr>
            <p:nvPr/>
          </p:nvCxnSpPr>
          <p:spPr>
            <a:xfrm>
              <a:off x="1953458" y="4527240"/>
              <a:ext cx="0" cy="261785"/>
            </a:xfrm>
            <a:prstGeom prst="line">
              <a:avLst/>
            </a:prstGeom>
            <a:ln w="19050">
              <a:solidFill>
                <a:schemeClr val="bg1">
                  <a:lumMod val="50000"/>
                  <a:alpha val="8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직선 연결선 79"/>
            <p:cNvCxnSpPr>
              <a:stCxn id="69" idx="2"/>
              <a:endCxn id="70" idx="0"/>
            </p:cNvCxnSpPr>
            <p:nvPr/>
          </p:nvCxnSpPr>
          <p:spPr>
            <a:xfrm>
              <a:off x="7898212" y="4526258"/>
              <a:ext cx="0" cy="261785"/>
            </a:xfrm>
            <a:prstGeom prst="line">
              <a:avLst/>
            </a:prstGeom>
            <a:ln w="19050">
              <a:solidFill>
                <a:schemeClr val="bg1">
                  <a:lumMod val="50000"/>
                  <a:alpha val="8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1" name="그룹 80"/>
            <p:cNvGrpSpPr/>
            <p:nvPr/>
          </p:nvGrpSpPr>
          <p:grpSpPr>
            <a:xfrm>
              <a:off x="1749271" y="3341467"/>
              <a:ext cx="6515293" cy="324000"/>
              <a:chOff x="1640581" y="1516907"/>
              <a:chExt cx="6515293" cy="300078"/>
            </a:xfrm>
          </p:grpSpPr>
          <p:sp>
            <p:nvSpPr>
              <p:cNvPr id="82" name="직사각형 81"/>
              <p:cNvSpPr/>
              <p:nvPr/>
            </p:nvSpPr>
            <p:spPr>
              <a:xfrm flipH="1">
                <a:off x="1640581" y="1516907"/>
                <a:ext cx="6515293" cy="300078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lumMod val="65000"/>
                      <a:tint val="66000"/>
                      <a:satMod val="160000"/>
                    </a:schemeClr>
                  </a:gs>
                  <a:gs pos="50000">
                    <a:schemeClr val="bg1">
                      <a:lumMod val="65000"/>
                      <a:tint val="44500"/>
                      <a:satMod val="160000"/>
                    </a:schemeClr>
                  </a:gs>
                  <a:gs pos="100000">
                    <a:schemeClr val="bg1">
                      <a:lumMod val="65000"/>
                      <a:tint val="23500"/>
                      <a:satMod val="160000"/>
                    </a:schemeClr>
                  </a:gs>
                </a:gsLst>
                <a:lin ang="10800000" scaled="1"/>
                <a:tileRect/>
              </a:gradFill>
              <a:ln w="3175">
                <a:solidFill>
                  <a:schemeClr val="bg1"/>
                </a:solidFill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b="1"/>
              </a:p>
            </p:txBody>
          </p:sp>
          <p:sp>
            <p:nvSpPr>
              <p:cNvPr id="83" name="직사각형 82"/>
              <p:cNvSpPr/>
              <p:nvPr/>
            </p:nvSpPr>
            <p:spPr>
              <a:xfrm>
                <a:off x="1676911" y="1565698"/>
                <a:ext cx="415498" cy="213789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r>
                  <a:rPr lang="ko-KR" altLang="en-US" sz="900" b="1" kern="0" dirty="0" smtClean="0">
                    <a:solidFill>
                      <a:prstClr val="black"/>
                    </a:solidFill>
                    <a:sym typeface="Wingdings" panose="05000000000000000000" pitchFamily="2" charset="2"/>
                  </a:rPr>
                  <a:t>있음</a:t>
                </a:r>
                <a:endParaRPr lang="ko-KR" altLang="en-US" sz="900" b="1" dirty="0"/>
              </a:p>
            </p:txBody>
          </p:sp>
          <p:sp>
            <p:nvSpPr>
              <p:cNvPr id="84" name="직사각형 83"/>
              <p:cNvSpPr/>
              <p:nvPr/>
            </p:nvSpPr>
            <p:spPr>
              <a:xfrm>
                <a:off x="7713742" y="1565676"/>
                <a:ext cx="415498" cy="213789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r>
                  <a:rPr lang="ko-KR" altLang="en-US" sz="900" b="1" kern="0" dirty="0" smtClean="0">
                    <a:solidFill>
                      <a:prstClr val="black"/>
                    </a:solidFill>
                    <a:sym typeface="Wingdings" panose="05000000000000000000" pitchFamily="2" charset="2"/>
                  </a:rPr>
                  <a:t>없음</a:t>
                </a:r>
                <a:endParaRPr lang="ko-KR" altLang="en-US" sz="900" b="1" dirty="0"/>
              </a:p>
            </p:txBody>
          </p:sp>
          <p:sp>
            <p:nvSpPr>
              <p:cNvPr id="85" name="직사각형 84"/>
              <p:cNvSpPr/>
              <p:nvPr/>
            </p:nvSpPr>
            <p:spPr>
              <a:xfrm>
                <a:off x="4408535" y="1569704"/>
                <a:ext cx="801823" cy="213789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r>
                  <a:rPr lang="ko-KR" altLang="en-US" sz="900" b="1" kern="0" dirty="0" smtClean="0">
                    <a:solidFill>
                      <a:prstClr val="black"/>
                    </a:solidFill>
                    <a:sym typeface="Wingdings" panose="05000000000000000000" pitchFamily="2" charset="2"/>
                  </a:rPr>
                  <a:t>정답 레이블</a:t>
                </a:r>
                <a:endParaRPr lang="ko-KR" altLang="en-US" sz="900" b="1" dirty="0"/>
              </a:p>
            </p:txBody>
          </p:sp>
        </p:grpSp>
      </p:grpSp>
      <p:sp>
        <p:nvSpPr>
          <p:cNvPr id="31" name="직사각형 30">
            <a:hlinkClick r:id="rId2" action="ppaction://hlinksldjump"/>
          </p:cNvPr>
          <p:cNvSpPr/>
          <p:nvPr/>
        </p:nvSpPr>
        <p:spPr>
          <a:xfrm>
            <a:off x="9023838" y="284285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smtClean="0">
                <a:solidFill>
                  <a:schemeClr val="tx1"/>
                </a:solidFill>
              </a:rPr>
              <a:t>돌아가기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260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2"/>
          <p:cNvSpPr>
            <a:spLocks noGrp="1"/>
          </p:cNvSpPr>
          <p:nvPr>
            <p:ph type="title"/>
          </p:nvPr>
        </p:nvSpPr>
        <p:spPr>
          <a:xfrm>
            <a:off x="345513" y="209756"/>
            <a:ext cx="7219069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[</a:t>
            </a:r>
            <a:r>
              <a:rPr lang="ko-KR" altLang="en-US" smtClean="0">
                <a:latin typeface="+mj-ea"/>
              </a:rPr>
              <a:t>참고</a:t>
            </a:r>
            <a:r>
              <a:rPr lang="en-US" altLang="ko-KR" dirty="0" smtClean="0">
                <a:latin typeface="+mj-ea"/>
              </a:rPr>
              <a:t>] </a:t>
            </a:r>
            <a:r>
              <a:rPr lang="ko-KR" altLang="en-US">
                <a:latin typeface="+mj-ea"/>
              </a:rPr>
              <a:t>룰기반 판정 모델과 머신러닝 기반 판정 모델</a:t>
            </a:r>
            <a:endParaRPr lang="ko-KR" altLang="en-US" dirty="0">
              <a:latin typeface="+mj-ea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085929" y="879126"/>
            <a:ext cx="4684951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 기계 학습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(Machine Learning)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적용 방법</a:t>
            </a:r>
            <a:endParaRPr kumimoji="1" lang="en-US" altLang="ko-KR" sz="13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Wingdings" panose="05000000000000000000" pitchFamily="2" charset="2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5148420" y="1280018"/>
            <a:ext cx="4418641" cy="2920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213" marR="0" lvl="1" indent="-176213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데이터를 정제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학습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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판정 </a:t>
            </a:r>
            <a:r>
              <a:rPr kumimoji="0" lang="ko-KR" alt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로직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(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모델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)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이 나옴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Wingdings" panose="05000000000000000000" pitchFamily="2" charset="2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53672" y="933219"/>
            <a:ext cx="4442047" cy="28910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 룰 기반 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vs </a:t>
            </a:r>
            <a:r>
              <a:rPr kumimoji="1" lang="ko-KR" alt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기계 학습</a:t>
            </a:r>
            <a:r>
              <a:rPr kumimoji="1" lang="en-US" altLang="ko-KR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(Machine Learning)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353672" y="1285094"/>
            <a:ext cx="4242572" cy="834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213" marR="0" lvl="1" indent="-176213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룰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기반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: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프로그래밍을 통해 개발자가 룰을 구현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Wingdings" panose="05000000000000000000" pitchFamily="2" charset="2"/>
            </a:endParaRPr>
          </a:p>
          <a:p>
            <a:pPr marL="176213" marR="0" lvl="1" indent="-176213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맑은 고딕" panose="020B0503020000020004" pitchFamily="50" charset="-127"/>
              <a:buChar char="-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기계 학습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: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데이터를 기계가 공부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(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학습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)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하여 답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(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프로그램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)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을 얻는 방식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Wingdings" panose="05000000000000000000" pitchFamily="2" charset="2"/>
            </a:endParaRPr>
          </a:p>
        </p:txBody>
      </p:sp>
      <p:grpSp>
        <p:nvGrpSpPr>
          <p:cNvPr id="34" name="그룹 33"/>
          <p:cNvGrpSpPr/>
          <p:nvPr/>
        </p:nvGrpSpPr>
        <p:grpSpPr>
          <a:xfrm>
            <a:off x="710574" y="2277442"/>
            <a:ext cx="3494223" cy="923693"/>
            <a:chOff x="717678" y="2433827"/>
            <a:chExt cx="3494223" cy="923693"/>
          </a:xfrm>
        </p:grpSpPr>
        <p:sp>
          <p:nvSpPr>
            <p:cNvPr id="35" name="직사각형 34"/>
            <p:cNvSpPr/>
            <p:nvPr/>
          </p:nvSpPr>
          <p:spPr>
            <a:xfrm>
              <a:off x="1976818" y="2887477"/>
              <a:ext cx="1010487" cy="44913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맑은 고딕"/>
                  <a:cs typeface="+mn-cs"/>
                </a:rPr>
                <a:t>Computer</a:t>
              </a:r>
              <a:endParaRPr kumimoji="1" lang="ko-KR" alt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  <p:cxnSp>
          <p:nvCxnSpPr>
            <p:cNvPr id="37" name="직선 화살표 연결선 36"/>
            <p:cNvCxnSpPr>
              <a:stCxn id="35" idx="3"/>
            </p:cNvCxnSpPr>
            <p:nvPr/>
          </p:nvCxnSpPr>
          <p:spPr>
            <a:xfrm>
              <a:off x="2987305" y="3112042"/>
              <a:ext cx="501321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tailEnd type="triangle"/>
            </a:ln>
            <a:effectLst/>
          </p:spPr>
        </p:cxnSp>
        <p:sp>
          <p:nvSpPr>
            <p:cNvPr id="43" name="직사각형 42"/>
            <p:cNvSpPr/>
            <p:nvPr/>
          </p:nvSpPr>
          <p:spPr>
            <a:xfrm>
              <a:off x="3488626" y="2961350"/>
              <a:ext cx="72327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outputs</a:t>
              </a:r>
              <a:endPara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anose="020B0600000101010101" pitchFamily="50" charset="-127"/>
                <a:ea typeface="굴림" panose="020B0600000101010101" pitchFamily="50" charset="-127"/>
              </a:endParaRPr>
            </a:p>
          </p:txBody>
        </p:sp>
        <p:cxnSp>
          <p:nvCxnSpPr>
            <p:cNvPr id="44" name="직선 화살표 연결선 43"/>
            <p:cNvCxnSpPr/>
            <p:nvPr/>
          </p:nvCxnSpPr>
          <p:spPr>
            <a:xfrm>
              <a:off x="1475497" y="3008410"/>
              <a:ext cx="501321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tailEnd type="triangle"/>
            </a:ln>
            <a:effectLst/>
          </p:spPr>
        </p:cxnSp>
        <p:cxnSp>
          <p:nvCxnSpPr>
            <p:cNvPr id="54" name="직선 화살표 연결선 53"/>
            <p:cNvCxnSpPr/>
            <p:nvPr/>
          </p:nvCxnSpPr>
          <p:spPr>
            <a:xfrm>
              <a:off x="1475497" y="3219021"/>
              <a:ext cx="501321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tailEnd type="triangle"/>
            </a:ln>
            <a:effectLst/>
          </p:spPr>
        </p:cxnSp>
        <p:sp>
          <p:nvSpPr>
            <p:cNvPr id="59" name="직사각형 58"/>
            <p:cNvSpPr/>
            <p:nvPr/>
          </p:nvSpPr>
          <p:spPr>
            <a:xfrm>
              <a:off x="805923" y="2835043"/>
              <a:ext cx="61587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inputs</a:t>
              </a:r>
              <a:endPara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anose="020B0600000101010101" pitchFamily="50" charset="-127"/>
                <a:ea typeface="굴림" panose="020B0600000101010101" pitchFamily="50" charset="-127"/>
              </a:endParaRPr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717678" y="3080521"/>
              <a:ext cx="78521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rogram</a:t>
              </a:r>
              <a:endPara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anose="020B0600000101010101" pitchFamily="50" charset="-127"/>
                <a:ea typeface="굴림" panose="020B0600000101010101" pitchFamily="50" charset="-127"/>
              </a:endParaRPr>
            </a:p>
          </p:txBody>
        </p:sp>
        <p:sp>
          <p:nvSpPr>
            <p:cNvPr id="67" name="직사각형 66"/>
            <p:cNvSpPr/>
            <p:nvPr/>
          </p:nvSpPr>
          <p:spPr>
            <a:xfrm>
              <a:off x="1222507" y="2433827"/>
              <a:ext cx="223330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1200" b="0" i="0" u="sng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룰 기반</a:t>
              </a:r>
              <a:r>
                <a:rPr kumimoji="1" lang="en-US" altLang="ko-KR" sz="1200" b="0" i="0" u="sng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(</a:t>
              </a:r>
              <a:r>
                <a:rPr kumimoji="1" lang="ko-KR" altLang="en-US" sz="1200" b="0" i="0" u="sng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일반적인 프로그래밍</a:t>
              </a:r>
              <a:r>
                <a:rPr kumimoji="1" lang="en-US" altLang="ko-KR" sz="1200" b="0" i="0" u="sng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)</a:t>
              </a:r>
              <a:endParaRPr kumimoji="1" lang="ko-KR" altLang="en-US" sz="12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anose="020B0600000101010101" pitchFamily="50" charset="-127"/>
                <a:ea typeface="굴림" panose="020B0600000101010101" pitchFamily="50" charset="-127"/>
              </a:endParaRPr>
            </a:p>
          </p:txBody>
        </p:sp>
      </p:grpSp>
      <p:sp>
        <p:nvSpPr>
          <p:cNvPr id="68" name="직사각형 67"/>
          <p:cNvSpPr/>
          <p:nvPr/>
        </p:nvSpPr>
        <p:spPr>
          <a:xfrm>
            <a:off x="1969714" y="4035088"/>
            <a:ext cx="1010487" cy="449130"/>
          </a:xfrm>
          <a:prstGeom prst="rect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Computer</a:t>
            </a:r>
            <a:endParaRPr kumimoji="1" lang="ko-KR" alt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cxnSp>
        <p:nvCxnSpPr>
          <p:cNvPr id="69" name="직선 화살표 연결선 68"/>
          <p:cNvCxnSpPr>
            <a:stCxn id="68" idx="3"/>
          </p:cNvCxnSpPr>
          <p:nvPr/>
        </p:nvCxnSpPr>
        <p:spPr>
          <a:xfrm>
            <a:off x="2980201" y="4259653"/>
            <a:ext cx="501321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70" name="직사각형 69"/>
          <p:cNvSpPr/>
          <p:nvPr/>
        </p:nvSpPr>
        <p:spPr>
          <a:xfrm>
            <a:off x="3450553" y="4108961"/>
            <a:ext cx="78521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gram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cxnSp>
        <p:nvCxnSpPr>
          <p:cNvPr id="71" name="직선 화살표 연결선 70"/>
          <p:cNvCxnSpPr/>
          <p:nvPr/>
        </p:nvCxnSpPr>
        <p:spPr>
          <a:xfrm>
            <a:off x="1468393" y="4156021"/>
            <a:ext cx="501321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72" name="직선 화살표 연결선 71"/>
          <p:cNvCxnSpPr/>
          <p:nvPr/>
        </p:nvCxnSpPr>
        <p:spPr>
          <a:xfrm>
            <a:off x="1468393" y="4366632"/>
            <a:ext cx="501321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73" name="직사각형 72"/>
          <p:cNvSpPr/>
          <p:nvPr/>
        </p:nvSpPr>
        <p:spPr>
          <a:xfrm>
            <a:off x="798819" y="3982654"/>
            <a:ext cx="61587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puts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741544" y="4228132"/>
            <a:ext cx="7232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utputs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1931946" y="3581438"/>
            <a:ext cx="8002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기계학습</a:t>
            </a:r>
            <a:endParaRPr kumimoji="1" lang="ko-KR" altLang="en-US" sz="1200" b="0" i="0" u="sng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2934384" y="3852498"/>
            <a:ext cx="18175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기계가 </a:t>
            </a:r>
            <a:r>
              <a:rPr kumimoji="1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gram</a:t>
            </a:r>
            <a:r>
              <a:rPr kumimoji="1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을 작성</a:t>
            </a:r>
            <a:endParaRPr kumimoji="1" lang="ko-KR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353671" y="5028753"/>
            <a:ext cx="4242572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☞ 룰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, </a:t>
            </a: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프로그램으로 정의 내리기 어려운 부분도 구별 가능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Wingdings" panose="05000000000000000000" pitchFamily="2" charset="2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451510" y="5407070"/>
            <a:ext cx="164981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EX&gt; </a:t>
            </a:r>
            <a:r>
              <a:rPr kumimoji="0" lang="ko-KR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개와 고양이를 구분</a:t>
            </a:r>
            <a:endParaRPr kumimoji="1" lang="ko-KR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79" name="AutoShape 18"/>
          <p:cNvSpPr>
            <a:spLocks noChangeArrowheads="1"/>
          </p:cNvSpPr>
          <p:nvPr/>
        </p:nvSpPr>
        <p:spPr bwMode="auto">
          <a:xfrm>
            <a:off x="7980377" y="2613943"/>
            <a:ext cx="825892" cy="245605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B2B2B2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93A5B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kx="-3284103" algn="br" rotWithShape="0">
                    <a:srgbClr val="6B6B6B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80" name="Group 242"/>
          <p:cNvGrpSpPr>
            <a:grpSpLocks/>
          </p:cNvGrpSpPr>
          <p:nvPr/>
        </p:nvGrpSpPr>
        <p:grpSpPr bwMode="auto">
          <a:xfrm>
            <a:off x="7864152" y="1849889"/>
            <a:ext cx="1122795" cy="507616"/>
            <a:chOff x="3438" y="3385"/>
            <a:chExt cx="2404" cy="544"/>
          </a:xfrm>
        </p:grpSpPr>
        <p:sp>
          <p:nvSpPr>
            <p:cNvPr id="81" name="Oval 81"/>
            <p:cNvSpPr>
              <a:spLocks noChangeArrowheads="1"/>
            </p:cNvSpPr>
            <p:nvPr/>
          </p:nvSpPr>
          <p:spPr bwMode="auto">
            <a:xfrm>
              <a:off x="3438" y="3385"/>
              <a:ext cx="2404" cy="544"/>
            </a:xfrm>
            <a:prstGeom prst="ellipse">
              <a:avLst/>
            </a:prstGeom>
            <a:noFill/>
            <a:ln w="9525" algn="ctr">
              <a:solidFill>
                <a:srgbClr val="B2B2B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6B6B6B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2" name="AutoShape 82"/>
            <p:cNvSpPr>
              <a:spLocks noChangeArrowheads="1"/>
            </p:cNvSpPr>
            <p:nvPr/>
          </p:nvSpPr>
          <p:spPr bwMode="auto">
            <a:xfrm>
              <a:off x="4027" y="3748"/>
              <a:ext cx="91" cy="91"/>
            </a:xfrm>
            <a:prstGeom prst="rtTriangle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3" name="AutoShape 83"/>
            <p:cNvSpPr>
              <a:spLocks noChangeArrowheads="1"/>
            </p:cNvSpPr>
            <p:nvPr/>
          </p:nvSpPr>
          <p:spPr bwMode="auto">
            <a:xfrm>
              <a:off x="4482" y="3747"/>
              <a:ext cx="90" cy="91"/>
            </a:xfrm>
            <a:prstGeom prst="octagon">
              <a:avLst>
                <a:gd name="adj" fmla="val 29287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4" name="AutoShape 84"/>
            <p:cNvSpPr>
              <a:spLocks noChangeArrowheads="1"/>
            </p:cNvSpPr>
            <p:nvPr/>
          </p:nvSpPr>
          <p:spPr bwMode="auto">
            <a:xfrm>
              <a:off x="4072" y="3431"/>
              <a:ext cx="91" cy="90"/>
            </a:xfrm>
            <a:prstGeom prst="plus">
              <a:avLst>
                <a:gd name="adj" fmla="val 2500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5" name="AutoShape 85"/>
            <p:cNvSpPr>
              <a:spLocks noChangeArrowheads="1"/>
            </p:cNvSpPr>
            <p:nvPr/>
          </p:nvSpPr>
          <p:spPr bwMode="auto">
            <a:xfrm>
              <a:off x="4934" y="3748"/>
              <a:ext cx="136" cy="90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6" name="AutoShape 86"/>
            <p:cNvSpPr>
              <a:spLocks noChangeArrowheads="1"/>
            </p:cNvSpPr>
            <p:nvPr/>
          </p:nvSpPr>
          <p:spPr bwMode="auto">
            <a:xfrm>
              <a:off x="4618" y="3520"/>
              <a:ext cx="90" cy="91"/>
            </a:xfrm>
            <a:prstGeom prst="pentagon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7" name="AutoShape 87"/>
            <p:cNvSpPr>
              <a:spLocks noChangeArrowheads="1"/>
            </p:cNvSpPr>
            <p:nvPr/>
          </p:nvSpPr>
          <p:spPr bwMode="auto">
            <a:xfrm>
              <a:off x="4073" y="3566"/>
              <a:ext cx="91" cy="91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8" name="AutoShape 88"/>
            <p:cNvSpPr>
              <a:spLocks noChangeArrowheads="1"/>
            </p:cNvSpPr>
            <p:nvPr/>
          </p:nvSpPr>
          <p:spPr bwMode="auto">
            <a:xfrm>
              <a:off x="4798" y="3430"/>
              <a:ext cx="136" cy="91"/>
            </a:xfrm>
            <a:prstGeom prst="parallelogram">
              <a:avLst>
                <a:gd name="adj" fmla="val 37363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9" name="AutoShape 89"/>
            <p:cNvSpPr>
              <a:spLocks noChangeArrowheads="1"/>
            </p:cNvSpPr>
            <p:nvPr/>
          </p:nvSpPr>
          <p:spPr bwMode="auto">
            <a:xfrm>
              <a:off x="5479" y="3566"/>
              <a:ext cx="90" cy="91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5040 w 21600"/>
                <a:gd name="T13" fmla="*/ 2374 h 21600"/>
                <a:gd name="T14" fmla="*/ 16560 w 21600"/>
                <a:gd name="T15" fmla="*/ 1376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0860" y="2187"/>
                  </a:moveTo>
                  <a:cubicBezTo>
                    <a:pt x="10451" y="1746"/>
                    <a:pt x="9529" y="1018"/>
                    <a:pt x="9015" y="730"/>
                  </a:cubicBezTo>
                  <a:cubicBezTo>
                    <a:pt x="7865" y="152"/>
                    <a:pt x="6685" y="0"/>
                    <a:pt x="5415" y="0"/>
                  </a:cubicBezTo>
                  <a:cubicBezTo>
                    <a:pt x="4175" y="152"/>
                    <a:pt x="2995" y="575"/>
                    <a:pt x="1967" y="1305"/>
                  </a:cubicBezTo>
                  <a:cubicBezTo>
                    <a:pt x="1150" y="2187"/>
                    <a:pt x="575" y="3222"/>
                    <a:pt x="242" y="4220"/>
                  </a:cubicBezTo>
                  <a:cubicBezTo>
                    <a:pt x="0" y="5410"/>
                    <a:pt x="242" y="6560"/>
                    <a:pt x="575" y="7597"/>
                  </a:cubicBezTo>
                  <a:lnTo>
                    <a:pt x="10860" y="21600"/>
                  </a:lnTo>
                  <a:lnTo>
                    <a:pt x="20995" y="7597"/>
                  </a:lnTo>
                  <a:cubicBezTo>
                    <a:pt x="21480" y="6560"/>
                    <a:pt x="21600" y="5410"/>
                    <a:pt x="21480" y="4220"/>
                  </a:cubicBezTo>
                  <a:cubicBezTo>
                    <a:pt x="21115" y="3222"/>
                    <a:pt x="20420" y="2187"/>
                    <a:pt x="19632" y="1305"/>
                  </a:cubicBezTo>
                  <a:cubicBezTo>
                    <a:pt x="18575" y="575"/>
                    <a:pt x="17425" y="152"/>
                    <a:pt x="16275" y="0"/>
                  </a:cubicBezTo>
                  <a:cubicBezTo>
                    <a:pt x="15005" y="0"/>
                    <a:pt x="13735" y="152"/>
                    <a:pt x="12705" y="730"/>
                  </a:cubicBezTo>
                  <a:cubicBezTo>
                    <a:pt x="12176" y="1018"/>
                    <a:pt x="11254" y="1746"/>
                    <a:pt x="10860" y="2187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AutoShape 90"/>
            <p:cNvSpPr>
              <a:spLocks noChangeArrowheads="1"/>
            </p:cNvSpPr>
            <p:nvPr/>
          </p:nvSpPr>
          <p:spPr bwMode="auto">
            <a:xfrm>
              <a:off x="4391" y="3702"/>
              <a:ext cx="91" cy="91"/>
            </a:xfrm>
            <a:prstGeom prst="rtTriangle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1" name="AutoShape 91"/>
            <p:cNvSpPr>
              <a:spLocks noChangeArrowheads="1"/>
            </p:cNvSpPr>
            <p:nvPr/>
          </p:nvSpPr>
          <p:spPr bwMode="auto">
            <a:xfrm>
              <a:off x="3755" y="3657"/>
              <a:ext cx="90" cy="91"/>
            </a:xfrm>
            <a:prstGeom prst="octagon">
              <a:avLst>
                <a:gd name="adj" fmla="val 29287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2" name="AutoShape 92"/>
            <p:cNvSpPr>
              <a:spLocks noChangeArrowheads="1"/>
            </p:cNvSpPr>
            <p:nvPr/>
          </p:nvSpPr>
          <p:spPr bwMode="auto">
            <a:xfrm>
              <a:off x="5615" y="3657"/>
              <a:ext cx="91" cy="90"/>
            </a:xfrm>
            <a:prstGeom prst="plus">
              <a:avLst>
                <a:gd name="adj" fmla="val 2500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3" name="AutoShape 93"/>
            <p:cNvSpPr>
              <a:spLocks noChangeArrowheads="1"/>
            </p:cNvSpPr>
            <p:nvPr/>
          </p:nvSpPr>
          <p:spPr bwMode="auto">
            <a:xfrm>
              <a:off x="5207" y="3430"/>
              <a:ext cx="136" cy="90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4" name="AutoShape 94"/>
            <p:cNvSpPr>
              <a:spLocks noChangeArrowheads="1"/>
            </p:cNvSpPr>
            <p:nvPr/>
          </p:nvSpPr>
          <p:spPr bwMode="auto">
            <a:xfrm>
              <a:off x="3891" y="3430"/>
              <a:ext cx="90" cy="91"/>
            </a:xfrm>
            <a:prstGeom prst="pentagon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5" name="AutoShape 95"/>
            <p:cNvSpPr>
              <a:spLocks noChangeArrowheads="1"/>
            </p:cNvSpPr>
            <p:nvPr/>
          </p:nvSpPr>
          <p:spPr bwMode="auto">
            <a:xfrm>
              <a:off x="5252" y="3657"/>
              <a:ext cx="91" cy="91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6" name="AutoShape 96"/>
            <p:cNvSpPr>
              <a:spLocks noChangeArrowheads="1"/>
            </p:cNvSpPr>
            <p:nvPr/>
          </p:nvSpPr>
          <p:spPr bwMode="auto">
            <a:xfrm>
              <a:off x="4753" y="3702"/>
              <a:ext cx="136" cy="91"/>
            </a:xfrm>
            <a:prstGeom prst="parallelogram">
              <a:avLst>
                <a:gd name="adj" fmla="val 37363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7" name="AutoShape 97"/>
            <p:cNvSpPr>
              <a:spLocks noChangeArrowheads="1"/>
            </p:cNvSpPr>
            <p:nvPr/>
          </p:nvSpPr>
          <p:spPr bwMode="auto">
            <a:xfrm>
              <a:off x="4299" y="3475"/>
              <a:ext cx="90" cy="91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5040 w 21600"/>
                <a:gd name="T13" fmla="*/ 2374 h 21600"/>
                <a:gd name="T14" fmla="*/ 16560 w 21600"/>
                <a:gd name="T15" fmla="*/ 1376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0860" y="2187"/>
                  </a:moveTo>
                  <a:cubicBezTo>
                    <a:pt x="10451" y="1746"/>
                    <a:pt x="9529" y="1018"/>
                    <a:pt x="9015" y="730"/>
                  </a:cubicBezTo>
                  <a:cubicBezTo>
                    <a:pt x="7865" y="152"/>
                    <a:pt x="6685" y="0"/>
                    <a:pt x="5415" y="0"/>
                  </a:cubicBezTo>
                  <a:cubicBezTo>
                    <a:pt x="4175" y="152"/>
                    <a:pt x="2995" y="575"/>
                    <a:pt x="1967" y="1305"/>
                  </a:cubicBezTo>
                  <a:cubicBezTo>
                    <a:pt x="1150" y="2187"/>
                    <a:pt x="575" y="3222"/>
                    <a:pt x="242" y="4220"/>
                  </a:cubicBezTo>
                  <a:cubicBezTo>
                    <a:pt x="0" y="5410"/>
                    <a:pt x="242" y="6560"/>
                    <a:pt x="575" y="7597"/>
                  </a:cubicBezTo>
                  <a:lnTo>
                    <a:pt x="10860" y="21600"/>
                  </a:lnTo>
                  <a:lnTo>
                    <a:pt x="20995" y="7597"/>
                  </a:lnTo>
                  <a:cubicBezTo>
                    <a:pt x="21480" y="6560"/>
                    <a:pt x="21600" y="5410"/>
                    <a:pt x="21480" y="4220"/>
                  </a:cubicBezTo>
                  <a:cubicBezTo>
                    <a:pt x="21115" y="3222"/>
                    <a:pt x="20420" y="2187"/>
                    <a:pt x="19632" y="1305"/>
                  </a:cubicBezTo>
                  <a:cubicBezTo>
                    <a:pt x="18575" y="575"/>
                    <a:pt x="17425" y="152"/>
                    <a:pt x="16275" y="0"/>
                  </a:cubicBezTo>
                  <a:cubicBezTo>
                    <a:pt x="15005" y="0"/>
                    <a:pt x="13735" y="152"/>
                    <a:pt x="12705" y="730"/>
                  </a:cubicBezTo>
                  <a:cubicBezTo>
                    <a:pt x="12176" y="1018"/>
                    <a:pt x="11254" y="1746"/>
                    <a:pt x="10860" y="2187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AutoShape 98"/>
            <p:cNvSpPr>
              <a:spLocks noChangeArrowheads="1"/>
            </p:cNvSpPr>
            <p:nvPr/>
          </p:nvSpPr>
          <p:spPr bwMode="auto">
            <a:xfrm>
              <a:off x="3664" y="3566"/>
              <a:ext cx="90" cy="91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5040 w 21600"/>
                <a:gd name="T13" fmla="*/ 2374 h 21600"/>
                <a:gd name="T14" fmla="*/ 16560 w 21600"/>
                <a:gd name="T15" fmla="*/ 1376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0860" y="2187"/>
                  </a:moveTo>
                  <a:cubicBezTo>
                    <a:pt x="10451" y="1746"/>
                    <a:pt x="9529" y="1018"/>
                    <a:pt x="9015" y="730"/>
                  </a:cubicBezTo>
                  <a:cubicBezTo>
                    <a:pt x="7865" y="152"/>
                    <a:pt x="6685" y="0"/>
                    <a:pt x="5415" y="0"/>
                  </a:cubicBezTo>
                  <a:cubicBezTo>
                    <a:pt x="4175" y="152"/>
                    <a:pt x="2995" y="575"/>
                    <a:pt x="1967" y="1305"/>
                  </a:cubicBezTo>
                  <a:cubicBezTo>
                    <a:pt x="1150" y="2187"/>
                    <a:pt x="575" y="3222"/>
                    <a:pt x="242" y="4220"/>
                  </a:cubicBezTo>
                  <a:cubicBezTo>
                    <a:pt x="0" y="5410"/>
                    <a:pt x="242" y="6560"/>
                    <a:pt x="575" y="7597"/>
                  </a:cubicBezTo>
                  <a:lnTo>
                    <a:pt x="10860" y="21600"/>
                  </a:lnTo>
                  <a:lnTo>
                    <a:pt x="20995" y="7597"/>
                  </a:lnTo>
                  <a:cubicBezTo>
                    <a:pt x="21480" y="6560"/>
                    <a:pt x="21600" y="5410"/>
                    <a:pt x="21480" y="4220"/>
                  </a:cubicBezTo>
                  <a:cubicBezTo>
                    <a:pt x="21115" y="3222"/>
                    <a:pt x="20420" y="2187"/>
                    <a:pt x="19632" y="1305"/>
                  </a:cubicBezTo>
                  <a:cubicBezTo>
                    <a:pt x="18575" y="575"/>
                    <a:pt x="17425" y="152"/>
                    <a:pt x="16275" y="0"/>
                  </a:cubicBezTo>
                  <a:cubicBezTo>
                    <a:pt x="15005" y="0"/>
                    <a:pt x="13735" y="152"/>
                    <a:pt x="12705" y="730"/>
                  </a:cubicBezTo>
                  <a:cubicBezTo>
                    <a:pt x="12176" y="1018"/>
                    <a:pt x="11254" y="1746"/>
                    <a:pt x="10860" y="2187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AutoShape 99"/>
            <p:cNvSpPr>
              <a:spLocks noChangeArrowheads="1"/>
            </p:cNvSpPr>
            <p:nvPr/>
          </p:nvSpPr>
          <p:spPr bwMode="auto">
            <a:xfrm>
              <a:off x="5070" y="3566"/>
              <a:ext cx="90" cy="91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5040 w 21600"/>
                <a:gd name="T13" fmla="*/ 2374 h 21600"/>
                <a:gd name="T14" fmla="*/ 16560 w 21600"/>
                <a:gd name="T15" fmla="*/ 1376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0860" y="2187"/>
                  </a:moveTo>
                  <a:cubicBezTo>
                    <a:pt x="10451" y="1746"/>
                    <a:pt x="9529" y="1018"/>
                    <a:pt x="9015" y="730"/>
                  </a:cubicBezTo>
                  <a:cubicBezTo>
                    <a:pt x="7865" y="152"/>
                    <a:pt x="6685" y="0"/>
                    <a:pt x="5415" y="0"/>
                  </a:cubicBezTo>
                  <a:cubicBezTo>
                    <a:pt x="4175" y="152"/>
                    <a:pt x="2995" y="575"/>
                    <a:pt x="1967" y="1305"/>
                  </a:cubicBezTo>
                  <a:cubicBezTo>
                    <a:pt x="1150" y="2187"/>
                    <a:pt x="575" y="3222"/>
                    <a:pt x="242" y="4220"/>
                  </a:cubicBezTo>
                  <a:cubicBezTo>
                    <a:pt x="0" y="5410"/>
                    <a:pt x="242" y="6560"/>
                    <a:pt x="575" y="7597"/>
                  </a:cubicBezTo>
                  <a:lnTo>
                    <a:pt x="10860" y="21600"/>
                  </a:lnTo>
                  <a:lnTo>
                    <a:pt x="20995" y="7597"/>
                  </a:lnTo>
                  <a:cubicBezTo>
                    <a:pt x="21480" y="6560"/>
                    <a:pt x="21600" y="5410"/>
                    <a:pt x="21480" y="4220"/>
                  </a:cubicBezTo>
                  <a:cubicBezTo>
                    <a:pt x="21115" y="3222"/>
                    <a:pt x="20420" y="2187"/>
                    <a:pt x="19632" y="1305"/>
                  </a:cubicBezTo>
                  <a:cubicBezTo>
                    <a:pt x="18575" y="575"/>
                    <a:pt x="17425" y="152"/>
                    <a:pt x="16275" y="0"/>
                  </a:cubicBezTo>
                  <a:cubicBezTo>
                    <a:pt x="15005" y="0"/>
                    <a:pt x="13735" y="152"/>
                    <a:pt x="12705" y="730"/>
                  </a:cubicBezTo>
                  <a:cubicBezTo>
                    <a:pt x="12176" y="1018"/>
                    <a:pt x="11254" y="1746"/>
                    <a:pt x="10860" y="2187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AutoShape 100"/>
            <p:cNvSpPr>
              <a:spLocks noChangeArrowheads="1"/>
            </p:cNvSpPr>
            <p:nvPr/>
          </p:nvSpPr>
          <p:spPr bwMode="auto">
            <a:xfrm>
              <a:off x="4526" y="3475"/>
              <a:ext cx="90" cy="91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5040 w 21600"/>
                <a:gd name="T13" fmla="*/ 2374 h 21600"/>
                <a:gd name="T14" fmla="*/ 16560 w 21600"/>
                <a:gd name="T15" fmla="*/ 1376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0860" y="2187"/>
                  </a:moveTo>
                  <a:cubicBezTo>
                    <a:pt x="10451" y="1746"/>
                    <a:pt x="9529" y="1018"/>
                    <a:pt x="9015" y="730"/>
                  </a:cubicBezTo>
                  <a:cubicBezTo>
                    <a:pt x="7865" y="152"/>
                    <a:pt x="6685" y="0"/>
                    <a:pt x="5415" y="0"/>
                  </a:cubicBezTo>
                  <a:cubicBezTo>
                    <a:pt x="4175" y="152"/>
                    <a:pt x="2995" y="575"/>
                    <a:pt x="1967" y="1305"/>
                  </a:cubicBezTo>
                  <a:cubicBezTo>
                    <a:pt x="1150" y="2187"/>
                    <a:pt x="575" y="3222"/>
                    <a:pt x="242" y="4220"/>
                  </a:cubicBezTo>
                  <a:cubicBezTo>
                    <a:pt x="0" y="5410"/>
                    <a:pt x="242" y="6560"/>
                    <a:pt x="575" y="7597"/>
                  </a:cubicBezTo>
                  <a:lnTo>
                    <a:pt x="10860" y="21600"/>
                  </a:lnTo>
                  <a:lnTo>
                    <a:pt x="20995" y="7597"/>
                  </a:lnTo>
                  <a:cubicBezTo>
                    <a:pt x="21480" y="6560"/>
                    <a:pt x="21600" y="5410"/>
                    <a:pt x="21480" y="4220"/>
                  </a:cubicBezTo>
                  <a:cubicBezTo>
                    <a:pt x="21115" y="3222"/>
                    <a:pt x="20420" y="2187"/>
                    <a:pt x="19632" y="1305"/>
                  </a:cubicBezTo>
                  <a:cubicBezTo>
                    <a:pt x="18575" y="575"/>
                    <a:pt x="17425" y="152"/>
                    <a:pt x="16275" y="0"/>
                  </a:cubicBezTo>
                  <a:cubicBezTo>
                    <a:pt x="15005" y="0"/>
                    <a:pt x="13735" y="152"/>
                    <a:pt x="12705" y="730"/>
                  </a:cubicBezTo>
                  <a:cubicBezTo>
                    <a:pt x="12176" y="1018"/>
                    <a:pt x="11254" y="1746"/>
                    <a:pt x="10860" y="2187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AutoShape 101"/>
            <p:cNvSpPr>
              <a:spLocks noChangeArrowheads="1"/>
            </p:cNvSpPr>
            <p:nvPr/>
          </p:nvSpPr>
          <p:spPr bwMode="auto">
            <a:xfrm>
              <a:off x="4209" y="3657"/>
              <a:ext cx="91" cy="90"/>
            </a:xfrm>
            <a:prstGeom prst="plus">
              <a:avLst>
                <a:gd name="adj" fmla="val 2500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2" name="AutoShape 102"/>
            <p:cNvSpPr>
              <a:spLocks noChangeArrowheads="1"/>
            </p:cNvSpPr>
            <p:nvPr/>
          </p:nvSpPr>
          <p:spPr bwMode="auto">
            <a:xfrm>
              <a:off x="5388" y="3657"/>
              <a:ext cx="91" cy="90"/>
            </a:xfrm>
            <a:prstGeom prst="plus">
              <a:avLst>
                <a:gd name="adj" fmla="val 2500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3" name="AutoShape 103"/>
            <p:cNvSpPr>
              <a:spLocks noChangeArrowheads="1"/>
            </p:cNvSpPr>
            <p:nvPr/>
          </p:nvSpPr>
          <p:spPr bwMode="auto">
            <a:xfrm>
              <a:off x="5070" y="3430"/>
              <a:ext cx="91" cy="90"/>
            </a:xfrm>
            <a:prstGeom prst="plus">
              <a:avLst>
                <a:gd name="adj" fmla="val 2500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4" name="AutoShape 104"/>
            <p:cNvSpPr>
              <a:spLocks noChangeArrowheads="1"/>
            </p:cNvSpPr>
            <p:nvPr/>
          </p:nvSpPr>
          <p:spPr bwMode="auto">
            <a:xfrm>
              <a:off x="3936" y="3612"/>
              <a:ext cx="136" cy="91"/>
            </a:xfrm>
            <a:prstGeom prst="parallelogram">
              <a:avLst>
                <a:gd name="adj" fmla="val 37363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5" name="AutoShape 105"/>
            <p:cNvSpPr>
              <a:spLocks noChangeArrowheads="1"/>
            </p:cNvSpPr>
            <p:nvPr/>
          </p:nvSpPr>
          <p:spPr bwMode="auto">
            <a:xfrm>
              <a:off x="4435" y="3612"/>
              <a:ext cx="90" cy="91"/>
            </a:xfrm>
            <a:prstGeom prst="octagon">
              <a:avLst>
                <a:gd name="adj" fmla="val 29287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6" name="AutoShape 106"/>
            <p:cNvSpPr>
              <a:spLocks noChangeArrowheads="1"/>
            </p:cNvSpPr>
            <p:nvPr/>
          </p:nvSpPr>
          <p:spPr bwMode="auto">
            <a:xfrm>
              <a:off x="5660" y="3521"/>
              <a:ext cx="90" cy="91"/>
            </a:xfrm>
            <a:prstGeom prst="octagon">
              <a:avLst>
                <a:gd name="adj" fmla="val 29287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7" name="AutoShape 107"/>
            <p:cNvSpPr>
              <a:spLocks noChangeArrowheads="1"/>
            </p:cNvSpPr>
            <p:nvPr/>
          </p:nvSpPr>
          <p:spPr bwMode="auto">
            <a:xfrm>
              <a:off x="4435" y="3385"/>
              <a:ext cx="90" cy="91"/>
            </a:xfrm>
            <a:prstGeom prst="pentagon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8" name="AutoShape 108"/>
            <p:cNvSpPr>
              <a:spLocks noChangeArrowheads="1"/>
            </p:cNvSpPr>
            <p:nvPr/>
          </p:nvSpPr>
          <p:spPr bwMode="auto">
            <a:xfrm>
              <a:off x="4299" y="3566"/>
              <a:ext cx="90" cy="91"/>
            </a:xfrm>
            <a:prstGeom prst="pentagon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9" name="AutoShape 109"/>
            <p:cNvSpPr>
              <a:spLocks noChangeArrowheads="1"/>
            </p:cNvSpPr>
            <p:nvPr/>
          </p:nvSpPr>
          <p:spPr bwMode="auto">
            <a:xfrm>
              <a:off x="4889" y="3612"/>
              <a:ext cx="90" cy="91"/>
            </a:xfrm>
            <a:prstGeom prst="pentagon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0" name="AutoShape 110"/>
            <p:cNvSpPr>
              <a:spLocks noChangeArrowheads="1"/>
            </p:cNvSpPr>
            <p:nvPr/>
          </p:nvSpPr>
          <p:spPr bwMode="auto">
            <a:xfrm>
              <a:off x="4617" y="3793"/>
              <a:ext cx="136" cy="90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1" name="AutoShape 111"/>
            <p:cNvSpPr>
              <a:spLocks noChangeArrowheads="1"/>
            </p:cNvSpPr>
            <p:nvPr/>
          </p:nvSpPr>
          <p:spPr bwMode="auto">
            <a:xfrm>
              <a:off x="5116" y="3702"/>
              <a:ext cx="90" cy="91"/>
            </a:xfrm>
            <a:prstGeom prst="octagon">
              <a:avLst>
                <a:gd name="adj" fmla="val 29287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2" name="AutoShape 112"/>
            <p:cNvSpPr>
              <a:spLocks noChangeArrowheads="1"/>
            </p:cNvSpPr>
            <p:nvPr/>
          </p:nvSpPr>
          <p:spPr bwMode="auto">
            <a:xfrm>
              <a:off x="5388" y="3430"/>
              <a:ext cx="90" cy="91"/>
            </a:xfrm>
            <a:prstGeom prst="octagon">
              <a:avLst>
                <a:gd name="adj" fmla="val 29287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3" name="AutoShape 113"/>
            <p:cNvSpPr>
              <a:spLocks noChangeArrowheads="1"/>
            </p:cNvSpPr>
            <p:nvPr/>
          </p:nvSpPr>
          <p:spPr bwMode="auto">
            <a:xfrm>
              <a:off x="4753" y="3566"/>
              <a:ext cx="90" cy="91"/>
            </a:xfrm>
            <a:prstGeom prst="octagon">
              <a:avLst>
                <a:gd name="adj" fmla="val 29287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4" name="AutoShape 114"/>
            <p:cNvSpPr>
              <a:spLocks noChangeArrowheads="1"/>
            </p:cNvSpPr>
            <p:nvPr/>
          </p:nvSpPr>
          <p:spPr bwMode="auto">
            <a:xfrm>
              <a:off x="4617" y="3657"/>
              <a:ext cx="91" cy="90"/>
            </a:xfrm>
            <a:prstGeom prst="plus">
              <a:avLst>
                <a:gd name="adj" fmla="val 2500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5" name="AutoShape 115"/>
            <p:cNvSpPr>
              <a:spLocks noChangeArrowheads="1"/>
            </p:cNvSpPr>
            <p:nvPr/>
          </p:nvSpPr>
          <p:spPr bwMode="auto">
            <a:xfrm>
              <a:off x="4662" y="3385"/>
              <a:ext cx="91" cy="90"/>
            </a:xfrm>
            <a:prstGeom prst="plus">
              <a:avLst>
                <a:gd name="adj" fmla="val 2500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6" name="AutoShape 116"/>
            <p:cNvSpPr>
              <a:spLocks noChangeArrowheads="1"/>
            </p:cNvSpPr>
            <p:nvPr/>
          </p:nvSpPr>
          <p:spPr bwMode="auto">
            <a:xfrm>
              <a:off x="3528" y="3612"/>
              <a:ext cx="91" cy="90"/>
            </a:xfrm>
            <a:prstGeom prst="plus">
              <a:avLst>
                <a:gd name="adj" fmla="val 2500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7" name="AutoShape 117"/>
            <p:cNvSpPr>
              <a:spLocks noChangeArrowheads="1"/>
            </p:cNvSpPr>
            <p:nvPr/>
          </p:nvSpPr>
          <p:spPr bwMode="auto">
            <a:xfrm>
              <a:off x="3800" y="3521"/>
              <a:ext cx="91" cy="90"/>
            </a:xfrm>
            <a:prstGeom prst="plus">
              <a:avLst>
                <a:gd name="adj" fmla="val 2500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8" name="AutoShape 118"/>
            <p:cNvSpPr>
              <a:spLocks noChangeArrowheads="1"/>
            </p:cNvSpPr>
            <p:nvPr/>
          </p:nvSpPr>
          <p:spPr bwMode="auto">
            <a:xfrm>
              <a:off x="3846" y="3748"/>
              <a:ext cx="136" cy="91"/>
            </a:xfrm>
            <a:prstGeom prst="parallelogram">
              <a:avLst>
                <a:gd name="adj" fmla="val 37363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9" name="AutoShape 119"/>
            <p:cNvSpPr>
              <a:spLocks noChangeArrowheads="1"/>
            </p:cNvSpPr>
            <p:nvPr/>
          </p:nvSpPr>
          <p:spPr bwMode="auto">
            <a:xfrm>
              <a:off x="4299" y="3838"/>
              <a:ext cx="90" cy="91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5040 w 21600"/>
                <a:gd name="T13" fmla="*/ 2374 h 21600"/>
                <a:gd name="T14" fmla="*/ 16560 w 21600"/>
                <a:gd name="T15" fmla="*/ 1376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0860" y="2187"/>
                  </a:moveTo>
                  <a:cubicBezTo>
                    <a:pt x="10451" y="1746"/>
                    <a:pt x="9529" y="1018"/>
                    <a:pt x="9015" y="730"/>
                  </a:cubicBezTo>
                  <a:cubicBezTo>
                    <a:pt x="7865" y="152"/>
                    <a:pt x="6685" y="0"/>
                    <a:pt x="5415" y="0"/>
                  </a:cubicBezTo>
                  <a:cubicBezTo>
                    <a:pt x="4175" y="152"/>
                    <a:pt x="2995" y="575"/>
                    <a:pt x="1967" y="1305"/>
                  </a:cubicBezTo>
                  <a:cubicBezTo>
                    <a:pt x="1150" y="2187"/>
                    <a:pt x="575" y="3222"/>
                    <a:pt x="242" y="4220"/>
                  </a:cubicBezTo>
                  <a:cubicBezTo>
                    <a:pt x="0" y="5410"/>
                    <a:pt x="242" y="6560"/>
                    <a:pt x="575" y="7597"/>
                  </a:cubicBezTo>
                  <a:lnTo>
                    <a:pt x="10860" y="21600"/>
                  </a:lnTo>
                  <a:lnTo>
                    <a:pt x="20995" y="7597"/>
                  </a:lnTo>
                  <a:cubicBezTo>
                    <a:pt x="21480" y="6560"/>
                    <a:pt x="21600" y="5410"/>
                    <a:pt x="21480" y="4220"/>
                  </a:cubicBezTo>
                  <a:cubicBezTo>
                    <a:pt x="21115" y="3222"/>
                    <a:pt x="20420" y="2187"/>
                    <a:pt x="19632" y="1305"/>
                  </a:cubicBezTo>
                  <a:cubicBezTo>
                    <a:pt x="18575" y="575"/>
                    <a:pt x="17425" y="152"/>
                    <a:pt x="16275" y="0"/>
                  </a:cubicBezTo>
                  <a:cubicBezTo>
                    <a:pt x="15005" y="0"/>
                    <a:pt x="13735" y="152"/>
                    <a:pt x="12705" y="730"/>
                  </a:cubicBezTo>
                  <a:cubicBezTo>
                    <a:pt x="12176" y="1018"/>
                    <a:pt x="11254" y="1746"/>
                    <a:pt x="10860" y="2187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AutoShape 120"/>
            <p:cNvSpPr>
              <a:spLocks noChangeArrowheads="1"/>
            </p:cNvSpPr>
            <p:nvPr/>
          </p:nvSpPr>
          <p:spPr bwMode="auto">
            <a:xfrm>
              <a:off x="4163" y="3793"/>
              <a:ext cx="90" cy="91"/>
            </a:xfrm>
            <a:prstGeom prst="pentagon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1" name="AutoShape 121"/>
            <p:cNvSpPr>
              <a:spLocks noChangeArrowheads="1"/>
            </p:cNvSpPr>
            <p:nvPr/>
          </p:nvSpPr>
          <p:spPr bwMode="auto">
            <a:xfrm>
              <a:off x="5297" y="3748"/>
              <a:ext cx="90" cy="91"/>
            </a:xfrm>
            <a:prstGeom prst="pentagon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2" name="AutoShape 122"/>
            <p:cNvSpPr>
              <a:spLocks noChangeArrowheads="1"/>
            </p:cNvSpPr>
            <p:nvPr/>
          </p:nvSpPr>
          <p:spPr bwMode="auto">
            <a:xfrm>
              <a:off x="4209" y="3385"/>
              <a:ext cx="90" cy="91"/>
            </a:xfrm>
            <a:prstGeom prst="octagon">
              <a:avLst>
                <a:gd name="adj" fmla="val 29287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3" name="AutoShape 123"/>
            <p:cNvSpPr>
              <a:spLocks noChangeArrowheads="1"/>
            </p:cNvSpPr>
            <p:nvPr/>
          </p:nvSpPr>
          <p:spPr bwMode="auto">
            <a:xfrm>
              <a:off x="5297" y="3567"/>
              <a:ext cx="136" cy="90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4" name="AutoShape 124"/>
            <p:cNvSpPr>
              <a:spLocks noChangeArrowheads="1"/>
            </p:cNvSpPr>
            <p:nvPr/>
          </p:nvSpPr>
          <p:spPr bwMode="auto">
            <a:xfrm>
              <a:off x="4844" y="3793"/>
              <a:ext cx="90" cy="91"/>
            </a:xfrm>
            <a:prstGeom prst="pentagon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5" name="AutoShape 125"/>
            <p:cNvSpPr>
              <a:spLocks noChangeArrowheads="1"/>
            </p:cNvSpPr>
            <p:nvPr/>
          </p:nvSpPr>
          <p:spPr bwMode="auto">
            <a:xfrm>
              <a:off x="4934" y="3475"/>
              <a:ext cx="91" cy="91"/>
            </a:xfrm>
            <a:prstGeom prst="rtTriangle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6" name="AutoShape 126"/>
            <p:cNvSpPr>
              <a:spLocks noChangeArrowheads="1"/>
            </p:cNvSpPr>
            <p:nvPr/>
          </p:nvSpPr>
          <p:spPr bwMode="auto">
            <a:xfrm>
              <a:off x="5161" y="3793"/>
              <a:ext cx="91" cy="90"/>
            </a:xfrm>
            <a:prstGeom prst="rtTriangle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7" name="AutoShape 127"/>
            <p:cNvSpPr>
              <a:spLocks noChangeArrowheads="1"/>
            </p:cNvSpPr>
            <p:nvPr/>
          </p:nvSpPr>
          <p:spPr bwMode="auto">
            <a:xfrm>
              <a:off x="3619" y="3702"/>
              <a:ext cx="91" cy="91"/>
            </a:xfrm>
            <a:prstGeom prst="rtTriangle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defRPr sz="1400" b="1">
                  <a:solidFill>
                    <a:schemeClr val="tx1"/>
                  </a:solidFill>
                  <a:latin typeface="Arial" pitchFamily="34" charset="0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2pPr>
              <a:lvl3pPr marL="1143000" indent="-228600" eaLnBrk="0" hangingPunct="0">
                <a:spcBef>
                  <a:spcPct val="45000"/>
                </a:spcBef>
                <a:buClr>
                  <a:srgbClr val="990000"/>
                </a:buClr>
                <a:buSzPct val="10000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Arial" pitchFamily="34" charset="0"/>
                  <a:ea typeface="가는각진제목체" pitchFamily="18" charset="-127"/>
                </a:defRPr>
              </a:lvl9pPr>
            </a:lstStyle>
            <a:p>
              <a:pPr marL="0" marR="0" lvl="0" indent="0" algn="r" defTabSz="91440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8" name="AutoShape 231"/>
            <p:cNvSpPr>
              <a:spLocks noChangeArrowheads="1"/>
            </p:cNvSpPr>
            <p:nvPr/>
          </p:nvSpPr>
          <p:spPr bwMode="auto">
            <a:xfrm>
              <a:off x="4073" y="3703"/>
              <a:ext cx="90" cy="9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60 w 21600"/>
                <a:gd name="T13" fmla="*/ 4560 h 21600"/>
                <a:gd name="T14" fmla="*/ 17040 w 21600"/>
                <a:gd name="T15" fmla="*/ 1704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9" name="AutoShape 232"/>
            <p:cNvSpPr>
              <a:spLocks noChangeArrowheads="1"/>
            </p:cNvSpPr>
            <p:nvPr/>
          </p:nvSpPr>
          <p:spPr bwMode="auto">
            <a:xfrm>
              <a:off x="5161" y="3566"/>
              <a:ext cx="90" cy="9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60 w 21600"/>
                <a:gd name="T13" fmla="*/ 4560 h 21600"/>
                <a:gd name="T14" fmla="*/ 17040 w 21600"/>
                <a:gd name="T15" fmla="*/ 1704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AutoShape 233"/>
            <p:cNvSpPr>
              <a:spLocks noChangeArrowheads="1"/>
            </p:cNvSpPr>
            <p:nvPr/>
          </p:nvSpPr>
          <p:spPr bwMode="auto">
            <a:xfrm>
              <a:off x="5479" y="3702"/>
              <a:ext cx="90" cy="9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60 w 21600"/>
                <a:gd name="T13" fmla="*/ 4560 h 21600"/>
                <a:gd name="T14" fmla="*/ 17040 w 21600"/>
                <a:gd name="T15" fmla="*/ 1704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AutoShape 234"/>
            <p:cNvSpPr>
              <a:spLocks noChangeArrowheads="1"/>
            </p:cNvSpPr>
            <p:nvPr/>
          </p:nvSpPr>
          <p:spPr bwMode="auto">
            <a:xfrm>
              <a:off x="4390" y="3838"/>
              <a:ext cx="90" cy="9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60 w 21600"/>
                <a:gd name="T13" fmla="*/ 4560 h 21600"/>
                <a:gd name="T14" fmla="*/ 17040 w 21600"/>
                <a:gd name="T15" fmla="*/ 1704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AutoShape 235"/>
            <p:cNvSpPr>
              <a:spLocks noChangeArrowheads="1"/>
            </p:cNvSpPr>
            <p:nvPr/>
          </p:nvSpPr>
          <p:spPr bwMode="auto">
            <a:xfrm>
              <a:off x="4163" y="3521"/>
              <a:ext cx="90" cy="9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60 w 21600"/>
                <a:gd name="T13" fmla="*/ 4560 h 21600"/>
                <a:gd name="T14" fmla="*/ 17040 w 21600"/>
                <a:gd name="T15" fmla="*/ 1704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4D4D4D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3" name="직사각형 132"/>
          <p:cNvSpPr/>
          <p:nvPr/>
        </p:nvSpPr>
        <p:spPr>
          <a:xfrm>
            <a:off x="7971404" y="2372734"/>
            <a:ext cx="93968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정제 데이터</a:t>
            </a:r>
          </a:p>
        </p:txBody>
      </p:sp>
      <p:pic>
        <p:nvPicPr>
          <p:cNvPr id="134" name="그림 1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2197" y="1697373"/>
            <a:ext cx="929729" cy="652016"/>
          </a:xfrm>
          <a:prstGeom prst="rect">
            <a:avLst/>
          </a:prstGeom>
        </p:spPr>
      </p:pic>
      <p:sp>
        <p:nvSpPr>
          <p:cNvPr id="135" name="직사각형 134"/>
          <p:cNvSpPr/>
          <p:nvPr/>
        </p:nvSpPr>
        <p:spPr>
          <a:xfrm>
            <a:off x="5445689" y="2265751"/>
            <a:ext cx="93968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초기 데이터</a:t>
            </a:r>
          </a:p>
        </p:txBody>
      </p:sp>
      <p:sp>
        <p:nvSpPr>
          <p:cNvPr id="136" name="AutoShape 18"/>
          <p:cNvSpPr>
            <a:spLocks noChangeArrowheads="1"/>
          </p:cNvSpPr>
          <p:nvPr/>
        </p:nvSpPr>
        <p:spPr bwMode="auto">
          <a:xfrm rot="16200000">
            <a:off x="6735256" y="1482198"/>
            <a:ext cx="522845" cy="1274077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B2B2B2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93A5B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kx="-3284103" algn="br" rotWithShape="0">
                    <a:srgbClr val="6B6B6B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050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37" name="직사각형 136"/>
          <p:cNvSpPr/>
          <p:nvPr/>
        </p:nvSpPr>
        <p:spPr>
          <a:xfrm>
            <a:off x="6587622" y="1911378"/>
            <a:ext cx="98937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데이터 정제 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및 변환</a:t>
            </a:r>
            <a:endParaRPr kumimoji="0" lang="en-US" altLang="ko-K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8" name="AutoShape 18"/>
          <p:cNvSpPr>
            <a:spLocks noChangeArrowheads="1"/>
          </p:cNvSpPr>
          <p:nvPr/>
        </p:nvSpPr>
        <p:spPr bwMode="auto">
          <a:xfrm rot="5400000">
            <a:off x="6517219" y="3743339"/>
            <a:ext cx="656424" cy="546311"/>
          </a:xfrm>
          <a:prstGeom prst="downArrow">
            <a:avLst>
              <a:gd name="adj1" fmla="val 51111"/>
              <a:gd name="adj2" fmla="val 47662"/>
            </a:avLst>
          </a:prstGeom>
          <a:gradFill rotWithShape="1">
            <a:gsLst>
              <a:gs pos="0">
                <a:srgbClr val="FFFFFF"/>
              </a:gs>
              <a:gs pos="100000">
                <a:srgbClr val="B2B2B2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93A5B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kx="-3284103" algn="br" rotWithShape="0">
                    <a:srgbClr val="6B6B6B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eaVert" wrap="none" tIns="18000" anchor="ctr"/>
          <a:lstStyle>
            <a:lvl1pPr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defRPr sz="1400" b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520700" indent="-166688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•"/>
              <a:defRPr sz="14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2pPr>
            <a:lvl3pPr marL="831850" indent="-120650" defTabSz="785813" eaLnBrk="0" hangingPunct="0">
              <a:spcBef>
                <a:spcPct val="45000"/>
              </a:spcBef>
              <a:buClr>
                <a:srgbClr val="990000"/>
              </a:buClr>
              <a:buSzPct val="10000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3pPr>
            <a:lvl4pPr marL="1241425" indent="-187325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4pPr>
            <a:lvl5pPr marL="1533525" indent="-101600" defTabSz="785813" eaLnBrk="0" hangingPunct="0">
              <a:spcBef>
                <a:spcPct val="20000"/>
              </a:spcBef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5pPr>
            <a:lvl6pPr marL="19907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6pPr>
            <a:lvl7pPr marL="24479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7pPr>
            <a:lvl8pPr marL="29051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8pPr>
            <a:lvl9pPr marL="3362325" indent="-101600" defTabSz="785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pitchFamily="34" charset="0"/>
                <a:ea typeface="가는각진제목체" pitchFamily="18" charset="-127"/>
              </a:defRPr>
            </a:lvl9pPr>
          </a:lstStyle>
          <a:p>
            <a:pPr algn="ctr" latinLnBrk="0">
              <a:spcBef>
                <a:spcPct val="0"/>
              </a:spcBef>
              <a:buClrTx/>
              <a:buSzTx/>
              <a:defRPr/>
            </a:pPr>
            <a:endParaRPr lang="en-US" altLang="ko-KR" sz="1200" kern="0" smtClea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39" name="그룹 138"/>
          <p:cNvGrpSpPr/>
          <p:nvPr/>
        </p:nvGrpSpPr>
        <p:grpSpPr>
          <a:xfrm>
            <a:off x="7581100" y="3005611"/>
            <a:ext cx="1534935" cy="1194224"/>
            <a:chOff x="6988769" y="2015564"/>
            <a:chExt cx="1857271" cy="1231735"/>
          </a:xfrm>
        </p:grpSpPr>
        <p:sp>
          <p:nvSpPr>
            <p:cNvPr id="140" name="직사각형 139"/>
            <p:cNvSpPr/>
            <p:nvPr/>
          </p:nvSpPr>
          <p:spPr bwMode="auto">
            <a:xfrm>
              <a:off x="6988769" y="2015564"/>
              <a:ext cx="1857271" cy="1231735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5F5F5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t" anchorCtr="0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Data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직사각형 140"/>
            <p:cNvSpPr/>
            <p:nvPr/>
          </p:nvSpPr>
          <p:spPr bwMode="auto">
            <a:xfrm>
              <a:off x="7094899" y="2229780"/>
              <a:ext cx="636779" cy="267768"/>
            </a:xfrm>
            <a:prstGeom prst="rect">
              <a:avLst/>
            </a:prstGeom>
            <a:gradFill rotWithShape="1">
              <a:gsLst>
                <a:gs pos="0">
                  <a:srgbClr val="769DC0"/>
                </a:gs>
                <a:gs pos="100000">
                  <a:srgbClr val="5081AE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instance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cxnSp>
          <p:nvCxnSpPr>
            <p:cNvPr id="142" name="직선 연결선 141"/>
            <p:cNvCxnSpPr>
              <a:stCxn id="141" idx="3"/>
              <a:endCxn id="146" idx="1"/>
            </p:cNvCxnSpPr>
            <p:nvPr/>
          </p:nvCxnSpPr>
          <p:spPr bwMode="auto">
            <a:xfrm>
              <a:off x="7731678" y="2363664"/>
              <a:ext cx="207067" cy="0"/>
            </a:xfrm>
            <a:prstGeom prst="line">
              <a:avLst/>
            </a:prstGeom>
            <a:gradFill rotWithShape="1">
              <a:gsLst>
                <a:gs pos="0">
                  <a:srgbClr val="8EAECC"/>
                </a:gs>
                <a:gs pos="100000">
                  <a:srgbClr val="7199BD"/>
                </a:gs>
              </a:gsLst>
              <a:lin ang="5400000" scaled="1"/>
            </a:gradFill>
            <a:ln w="28575" cap="flat" cmpd="sng" algn="ctr">
              <a:solidFill>
                <a:srgbClr val="234B7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43" name="직사각형 142"/>
            <p:cNvSpPr/>
            <p:nvPr/>
          </p:nvSpPr>
          <p:spPr bwMode="auto">
            <a:xfrm>
              <a:off x="7094899" y="2551101"/>
              <a:ext cx="636779" cy="267768"/>
            </a:xfrm>
            <a:prstGeom prst="rect">
              <a:avLst/>
            </a:prstGeom>
            <a:gradFill rotWithShape="1">
              <a:gsLst>
                <a:gs pos="0">
                  <a:srgbClr val="769DC0"/>
                </a:gs>
                <a:gs pos="100000">
                  <a:srgbClr val="5081AE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instance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cxnSp>
          <p:nvCxnSpPr>
            <p:cNvPr id="144" name="직선 연결선 143"/>
            <p:cNvCxnSpPr>
              <a:stCxn id="143" idx="3"/>
              <a:endCxn id="148" idx="1"/>
            </p:cNvCxnSpPr>
            <p:nvPr/>
          </p:nvCxnSpPr>
          <p:spPr bwMode="auto">
            <a:xfrm>
              <a:off x="7731678" y="2684985"/>
              <a:ext cx="207067" cy="0"/>
            </a:xfrm>
            <a:prstGeom prst="line">
              <a:avLst/>
            </a:prstGeom>
            <a:gradFill rotWithShape="1">
              <a:gsLst>
                <a:gs pos="0">
                  <a:srgbClr val="8EAECC"/>
                </a:gs>
                <a:gs pos="100000">
                  <a:srgbClr val="7199BD"/>
                </a:gs>
              </a:gsLst>
              <a:lin ang="5400000" scaled="1"/>
            </a:gradFill>
            <a:ln w="28575" cap="flat" cmpd="sng" algn="ctr">
              <a:solidFill>
                <a:srgbClr val="234B7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45" name="직사각형 144"/>
            <p:cNvSpPr/>
            <p:nvPr/>
          </p:nvSpPr>
          <p:spPr bwMode="auto">
            <a:xfrm>
              <a:off x="7094899" y="2872424"/>
              <a:ext cx="636779" cy="267768"/>
            </a:xfrm>
            <a:prstGeom prst="rect">
              <a:avLst/>
            </a:prstGeom>
            <a:gradFill rotWithShape="1">
              <a:gsLst>
                <a:gs pos="0">
                  <a:srgbClr val="769DC0"/>
                </a:gs>
                <a:gs pos="100000">
                  <a:srgbClr val="5081AE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instance</a:t>
              </a:r>
              <a:endParaRPr kumimoji="1" lang="ko-KR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직사각형 145"/>
            <p:cNvSpPr/>
            <p:nvPr/>
          </p:nvSpPr>
          <p:spPr bwMode="auto">
            <a:xfrm>
              <a:off x="7938745" y="2229780"/>
              <a:ext cx="748100" cy="267768"/>
            </a:xfrm>
            <a:prstGeom prst="rect">
              <a:avLst/>
            </a:prstGeom>
            <a:gradFill rotWithShape="1">
              <a:gsLst>
                <a:gs pos="0">
                  <a:srgbClr val="082E48"/>
                </a:gs>
                <a:gs pos="100000">
                  <a:srgbClr val="072A42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 cap="rnd" algn="ctr">
                  <a:solidFill>
                    <a:srgbClr val="000000"/>
                  </a:solidFill>
                  <a:prstDash val="sysDot"/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DDDD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Labelling</a:t>
              </a:r>
              <a:endPara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직사각형 147"/>
            <p:cNvSpPr/>
            <p:nvPr/>
          </p:nvSpPr>
          <p:spPr bwMode="auto">
            <a:xfrm>
              <a:off x="7938745" y="2551101"/>
              <a:ext cx="748100" cy="267768"/>
            </a:xfrm>
            <a:prstGeom prst="rect">
              <a:avLst/>
            </a:prstGeom>
            <a:gradFill rotWithShape="1">
              <a:gsLst>
                <a:gs pos="0">
                  <a:srgbClr val="082E48"/>
                </a:gs>
                <a:gs pos="100000">
                  <a:srgbClr val="072A42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 cap="rnd" algn="ctr">
                  <a:solidFill>
                    <a:srgbClr val="000000"/>
                  </a:solidFill>
                  <a:prstDash val="sysDot"/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DDDD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Labelling</a:t>
              </a:r>
              <a:endPara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직사각형 148"/>
            <p:cNvSpPr/>
            <p:nvPr/>
          </p:nvSpPr>
          <p:spPr bwMode="auto">
            <a:xfrm>
              <a:off x="7938745" y="2872424"/>
              <a:ext cx="748100" cy="267768"/>
            </a:xfrm>
            <a:prstGeom prst="rect">
              <a:avLst/>
            </a:prstGeom>
            <a:gradFill rotWithShape="1">
              <a:gsLst>
                <a:gs pos="0">
                  <a:srgbClr val="082E48"/>
                </a:gs>
                <a:gs pos="100000">
                  <a:srgbClr val="072A42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8100" cap="rnd" algn="ctr">
                  <a:solidFill>
                    <a:srgbClr val="000000"/>
                  </a:solidFill>
                  <a:prstDash val="sysDot"/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DDDDD"/>
                </a:buClr>
                <a:buSzTx/>
                <a:buFontTx/>
                <a:buNone/>
                <a:tabLst/>
                <a:defRPr/>
              </a:pPr>
              <a:r>
                <a:rPr kumimoji="1" lang="en-US" altLang="ko-KR" sz="7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Labelling</a:t>
              </a:r>
              <a:endParaRPr kumimoji="1" lang="ko-KR" alt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cxnSp>
          <p:nvCxnSpPr>
            <p:cNvPr id="150" name="직선 연결선 149"/>
            <p:cNvCxnSpPr>
              <a:stCxn id="145" idx="3"/>
              <a:endCxn id="149" idx="1"/>
            </p:cNvCxnSpPr>
            <p:nvPr/>
          </p:nvCxnSpPr>
          <p:spPr bwMode="auto">
            <a:xfrm>
              <a:off x="7731678" y="3006308"/>
              <a:ext cx="207067" cy="0"/>
            </a:xfrm>
            <a:prstGeom prst="line">
              <a:avLst/>
            </a:prstGeom>
            <a:gradFill rotWithShape="1">
              <a:gsLst>
                <a:gs pos="0">
                  <a:srgbClr val="8EAECC"/>
                </a:gs>
                <a:gs pos="100000">
                  <a:srgbClr val="7199BD"/>
                </a:gs>
              </a:gsLst>
              <a:lin ang="5400000" scaled="1"/>
            </a:gradFill>
            <a:ln w="28575" cap="flat" cmpd="sng" algn="ctr">
              <a:solidFill>
                <a:srgbClr val="234B7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51" name="직사각형 150"/>
          <p:cNvSpPr/>
          <p:nvPr/>
        </p:nvSpPr>
        <p:spPr>
          <a:xfrm>
            <a:off x="8314811" y="5160078"/>
            <a:ext cx="54119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algn="ctr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400" kern="0" dirty="0">
                <a:solidFill>
                  <a:srgbClr val="000000"/>
                </a:solidFill>
                <a:sym typeface="Wingdings" panose="05000000000000000000" pitchFamily="2" charset="2"/>
              </a:rPr>
              <a:t>검증</a:t>
            </a:r>
            <a:endParaRPr lang="en-US" altLang="ko-KR" sz="1400" kern="0" dirty="0">
              <a:solidFill>
                <a:srgbClr val="000000"/>
              </a:solidFill>
              <a:sym typeface="Wingdings" panose="05000000000000000000" pitchFamily="2" charset="2"/>
            </a:endParaRPr>
          </a:p>
        </p:txBody>
      </p:sp>
      <p:sp>
        <p:nvSpPr>
          <p:cNvPr id="152" name="직사각형 151"/>
          <p:cNvSpPr/>
          <p:nvPr/>
        </p:nvSpPr>
        <p:spPr bwMode="auto">
          <a:xfrm>
            <a:off x="7878886" y="4698115"/>
            <a:ext cx="985905" cy="345663"/>
          </a:xfrm>
          <a:prstGeom prst="rect">
            <a:avLst/>
          </a:prstGeom>
          <a:pattFill prst="wdDnDiag">
            <a:fgClr>
              <a:srgbClr val="08376B"/>
            </a:fgClr>
            <a:bgClr>
              <a:srgbClr val="204F83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Model</a:t>
            </a:r>
            <a:endParaRPr kumimoji="1" lang="ko-KR" alt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53" name="AutoShape 551"/>
          <p:cNvSpPr>
            <a:spLocks noChangeArrowheads="1"/>
          </p:cNvSpPr>
          <p:nvPr/>
        </p:nvSpPr>
        <p:spPr bwMode="auto">
          <a:xfrm>
            <a:off x="7565256" y="4880846"/>
            <a:ext cx="599882" cy="426357"/>
          </a:xfrm>
          <a:custGeom>
            <a:avLst/>
            <a:gdLst>
              <a:gd name="G0" fmla="+- 9680753 0 0"/>
              <a:gd name="G1" fmla="+- 11417026 0 0"/>
              <a:gd name="G2" fmla="+- 9680753 0 11417026"/>
              <a:gd name="G3" fmla="+- 10800 0 0"/>
              <a:gd name="G4" fmla="+- 0 0 9680753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8846 0 0"/>
              <a:gd name="G9" fmla="+- 0 0 11417026"/>
              <a:gd name="G10" fmla="+- 8846 0 2700"/>
              <a:gd name="G11" fmla="cos G10 9680753"/>
              <a:gd name="G12" fmla="sin G10 9680753"/>
              <a:gd name="G13" fmla="cos 13500 9680753"/>
              <a:gd name="G14" fmla="sin 13500 9680753"/>
              <a:gd name="G15" fmla="+- G11 10800 0"/>
              <a:gd name="G16" fmla="+- G12 10800 0"/>
              <a:gd name="G17" fmla="+- G13 10800 0"/>
              <a:gd name="G18" fmla="+- G14 10800 0"/>
              <a:gd name="G19" fmla="*/ 8846 1 2"/>
              <a:gd name="G20" fmla="+- G19 5400 0"/>
              <a:gd name="G21" fmla="cos G20 9680753"/>
              <a:gd name="G22" fmla="sin G20 9680753"/>
              <a:gd name="G23" fmla="+- G21 10800 0"/>
              <a:gd name="G24" fmla="+- G12 G23 G22"/>
              <a:gd name="G25" fmla="+- G22 G23 G11"/>
              <a:gd name="G26" fmla="cos 10800 9680753"/>
              <a:gd name="G27" fmla="sin 10800 9680753"/>
              <a:gd name="G28" fmla="cos 8846 9680753"/>
              <a:gd name="G29" fmla="sin 8846 9680753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11417026"/>
              <a:gd name="G36" fmla="sin G34 11417026"/>
              <a:gd name="G37" fmla="+/ 11417026 9680753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8846 G39"/>
              <a:gd name="G43" fmla="sin 8846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21009 w 21600"/>
              <a:gd name="T5" fmla="*/ 7277 h 21600"/>
              <a:gd name="T6" fmla="*/ 1027 w 21600"/>
              <a:gd name="T7" fmla="*/ 11790 h 21600"/>
              <a:gd name="T8" fmla="*/ 19162 w 21600"/>
              <a:gd name="T9" fmla="*/ 7914 h 21600"/>
              <a:gd name="T10" fmla="*/ -614 w 21600"/>
              <a:gd name="T11" fmla="*/ 18010 h 21600"/>
              <a:gd name="T12" fmla="*/ 531 w 21600"/>
              <a:gd name="T13" fmla="*/ 12937 h 21600"/>
              <a:gd name="T14" fmla="*/ 5604 w 21600"/>
              <a:gd name="T15" fmla="*/ 14082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3321" y="15524"/>
                </a:moveTo>
                <a:cubicBezTo>
                  <a:pt x="4942" y="18090"/>
                  <a:pt x="7765" y="19646"/>
                  <a:pt x="10800" y="19646"/>
                </a:cubicBezTo>
                <a:cubicBezTo>
                  <a:pt x="15685" y="19646"/>
                  <a:pt x="19646" y="15685"/>
                  <a:pt x="19646" y="10800"/>
                </a:cubicBezTo>
                <a:cubicBezTo>
                  <a:pt x="19646" y="5914"/>
                  <a:pt x="15685" y="1954"/>
                  <a:pt x="10800" y="1954"/>
                </a:cubicBezTo>
                <a:cubicBezTo>
                  <a:pt x="5914" y="1954"/>
                  <a:pt x="1954" y="5914"/>
                  <a:pt x="1954" y="10800"/>
                </a:cubicBezTo>
                <a:cubicBezTo>
                  <a:pt x="1953" y="11098"/>
                  <a:pt x="1969" y="11395"/>
                  <a:pt x="1999" y="11692"/>
                </a:cubicBezTo>
                <a:lnTo>
                  <a:pt x="55" y="11889"/>
                </a:lnTo>
                <a:cubicBezTo>
                  <a:pt x="18" y="11527"/>
                  <a:pt x="0" y="11163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6764"/>
                  <a:pt x="16764" y="21600"/>
                  <a:pt x="10800" y="21600"/>
                </a:cubicBezTo>
                <a:cubicBezTo>
                  <a:pt x="7094" y="21600"/>
                  <a:pt x="3648" y="19700"/>
                  <a:pt x="1669" y="16568"/>
                </a:cubicBezTo>
                <a:lnTo>
                  <a:pt x="-614" y="18010"/>
                </a:lnTo>
                <a:lnTo>
                  <a:pt x="531" y="12937"/>
                </a:lnTo>
                <a:lnTo>
                  <a:pt x="5604" y="14082"/>
                </a:lnTo>
                <a:lnTo>
                  <a:pt x="3321" y="15524"/>
                </a:lnTo>
                <a:close/>
              </a:path>
            </a:pathLst>
          </a:custGeom>
          <a:gradFill rotWithShape="0">
            <a:gsLst>
              <a:gs pos="0">
                <a:srgbClr val="3D85D5"/>
              </a:gs>
              <a:gs pos="50000">
                <a:srgbClr val="FFFFFF"/>
              </a:gs>
              <a:gs pos="100000">
                <a:srgbClr val="3D85D5"/>
              </a:gs>
            </a:gsLst>
            <a:lin ang="18900000" scaled="1"/>
          </a:gradFill>
          <a:ln w="9525">
            <a:miter lim="800000"/>
            <a:headEnd/>
            <a:tailEnd/>
          </a:ln>
          <a:effectLst/>
          <a:scene3d>
            <a:camera prst="legacyObliqueTopRight"/>
            <a:lightRig rig="legacyFlat4" dir="t"/>
          </a:scene3d>
          <a:sp3d extrusionH="100000" prstMaterial="legacyMatte">
            <a:bevelT w="13500" h="13500" prst="angle"/>
            <a:bevelB w="13500" h="13500" prst="angle"/>
            <a:extrusionClr>
              <a:srgbClr val="3D85D5"/>
            </a:extrusion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54" name="그룹 153"/>
          <p:cNvGrpSpPr/>
          <p:nvPr/>
        </p:nvGrpSpPr>
        <p:grpSpPr>
          <a:xfrm>
            <a:off x="8165138" y="4220583"/>
            <a:ext cx="821245" cy="477532"/>
            <a:chOff x="7770432" y="3300852"/>
            <a:chExt cx="680706" cy="378995"/>
          </a:xfrm>
        </p:grpSpPr>
        <p:sp>
          <p:nvSpPr>
            <p:cNvPr id="155" name="오른쪽 화살표 154"/>
            <p:cNvSpPr/>
            <p:nvPr/>
          </p:nvSpPr>
          <p:spPr bwMode="auto">
            <a:xfrm rot="5400000">
              <a:off x="7713031" y="3358253"/>
              <a:ext cx="378995" cy="264193"/>
            </a:xfrm>
            <a:prstGeom prst="rightArrow">
              <a:avLst/>
            </a:prstGeom>
            <a:gradFill rotWithShape="1">
              <a:gsLst>
                <a:gs pos="0">
                  <a:srgbClr val="8EAECC"/>
                </a:gs>
                <a:gs pos="100000">
                  <a:srgbClr val="7199BD"/>
                </a:gs>
              </a:gsLst>
              <a:lin ang="5400000" scaled="1"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3600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직사각형 155"/>
            <p:cNvSpPr/>
            <p:nvPr/>
          </p:nvSpPr>
          <p:spPr>
            <a:xfrm>
              <a:off x="8000449" y="3334117"/>
              <a:ext cx="450689" cy="2442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ko-KR" altLang="en-US" sz="1400" kern="0" dirty="0">
                  <a:solidFill>
                    <a:srgbClr val="000000"/>
                  </a:solidFill>
                  <a:sym typeface="Wingdings" panose="05000000000000000000" pitchFamily="2" charset="2"/>
                </a:rPr>
                <a:t>학습</a:t>
              </a:r>
              <a:endParaRPr lang="en-US" altLang="ko-KR" sz="1400" kern="0" dirty="0">
                <a:solidFill>
                  <a:srgbClr val="000000"/>
                </a:solidFill>
                <a:sym typeface="Wingdings" panose="05000000000000000000" pitchFamily="2" charset="2"/>
              </a:endParaRPr>
            </a:p>
          </p:txBody>
        </p:sp>
      </p:grpSp>
      <p:grpSp>
        <p:nvGrpSpPr>
          <p:cNvPr id="157" name="그룹 156"/>
          <p:cNvGrpSpPr/>
          <p:nvPr/>
        </p:nvGrpSpPr>
        <p:grpSpPr>
          <a:xfrm>
            <a:off x="5422655" y="3390450"/>
            <a:ext cx="1067684" cy="2016620"/>
            <a:chOff x="5145079" y="3723071"/>
            <a:chExt cx="1587473" cy="2394295"/>
          </a:xfrm>
        </p:grpSpPr>
        <p:grpSp>
          <p:nvGrpSpPr>
            <p:cNvPr id="158" name="그룹 157"/>
            <p:cNvGrpSpPr/>
            <p:nvPr/>
          </p:nvGrpSpPr>
          <p:grpSpPr>
            <a:xfrm>
              <a:off x="5276207" y="3892490"/>
              <a:ext cx="1354024" cy="2119866"/>
              <a:chOff x="5381093" y="3826409"/>
              <a:chExt cx="982917" cy="2383480"/>
            </a:xfrm>
          </p:grpSpPr>
          <p:sp>
            <p:nvSpPr>
              <p:cNvPr id="160" name="오른쪽 화살표 159"/>
              <p:cNvSpPr/>
              <p:nvPr/>
            </p:nvSpPr>
            <p:spPr bwMode="auto">
              <a:xfrm rot="5400000">
                <a:off x="5403609" y="4695516"/>
                <a:ext cx="960065" cy="264193"/>
              </a:xfrm>
              <a:prstGeom prst="rightArrow">
                <a:avLst/>
              </a:prstGeom>
              <a:gradFill rotWithShape="1">
                <a:gsLst>
                  <a:gs pos="0">
                    <a:srgbClr val="8EAECC"/>
                  </a:gs>
                  <a:gs pos="100000">
                    <a:srgbClr val="7199BD"/>
                  </a:gs>
                </a:gsLst>
                <a:lin ang="5400000" scaled="1"/>
              </a:gradFill>
              <a:ln w="285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3600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61" name="그룹 160"/>
              <p:cNvGrpSpPr/>
              <p:nvPr/>
            </p:nvGrpSpPr>
            <p:grpSpPr>
              <a:xfrm>
                <a:off x="5381093" y="4433731"/>
                <a:ext cx="982917" cy="632109"/>
                <a:chOff x="2454948" y="5297181"/>
                <a:chExt cx="2053194" cy="1320399"/>
              </a:xfrm>
            </p:grpSpPr>
            <p:pic>
              <p:nvPicPr>
                <p:cNvPr id="169" name="Picture 2" descr="기준에 대한 이미지 검색결과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2454948" y="5358478"/>
                  <a:ext cx="2053194" cy="1259102"/>
                </a:xfrm>
                <a:prstGeom prst="rect">
                  <a:avLst/>
                </a:prstGeom>
                <a:noFill/>
              </p:spPr>
            </p:pic>
            <p:sp>
              <p:nvSpPr>
                <p:cNvPr id="170" name="TextBox 169"/>
                <p:cNvSpPr txBox="1"/>
                <p:nvPr/>
              </p:nvSpPr>
              <p:spPr>
                <a:xfrm>
                  <a:off x="2609094" y="5297181"/>
                  <a:ext cx="1674056" cy="68658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000" b="1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rPr>
                    <a:t>판정 </a:t>
                  </a:r>
                  <a:r>
                    <a:rPr kumimoji="0" lang="ko-KR" altLang="en-US" sz="1000" b="1" i="1" u="none" strike="noStrike" kern="0" cap="none" spc="0" normalizeH="0" baseline="0" noProof="0" dirty="0" err="1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rPr>
                    <a:t>로직</a:t>
                  </a:r>
                  <a:endParaRPr kumimoji="0" lang="ko-KR" altLang="en-US" sz="1000" b="1" i="1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62" name="그룹 13"/>
              <p:cNvGrpSpPr/>
              <p:nvPr/>
            </p:nvGrpSpPr>
            <p:grpSpPr>
              <a:xfrm>
                <a:off x="5502832" y="3826409"/>
                <a:ext cx="780726" cy="534117"/>
                <a:chOff x="2530556" y="4257347"/>
                <a:chExt cx="496162" cy="1009938"/>
              </a:xfrm>
            </p:grpSpPr>
            <p:grpSp>
              <p:nvGrpSpPr>
                <p:cNvPr id="164" name="그룹 12"/>
                <p:cNvGrpSpPr/>
                <p:nvPr/>
              </p:nvGrpSpPr>
              <p:grpSpPr>
                <a:xfrm rot="5400000">
                  <a:off x="2373468" y="4569005"/>
                  <a:ext cx="810337" cy="496162"/>
                  <a:chOff x="2967907" y="3958263"/>
                  <a:chExt cx="810337" cy="496162"/>
                </a:xfrm>
              </p:grpSpPr>
              <p:sp>
                <p:nvSpPr>
                  <p:cNvPr id="166" name="갈매기형 수장 165"/>
                  <p:cNvSpPr/>
                  <p:nvPr/>
                </p:nvSpPr>
                <p:spPr>
                  <a:xfrm>
                    <a:off x="2967907" y="3958263"/>
                    <a:ext cx="336408" cy="496162"/>
                  </a:xfrm>
                  <a:prstGeom prst="chevron">
                    <a:avLst/>
                  </a:prstGeom>
                  <a:solidFill>
                    <a:srgbClr val="FFFFFF">
                      <a:lumMod val="85000"/>
                    </a:srgbClr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10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7" name="갈매기형 수장 166"/>
                  <p:cNvSpPr/>
                  <p:nvPr/>
                </p:nvSpPr>
                <p:spPr>
                  <a:xfrm>
                    <a:off x="3204871" y="3958263"/>
                    <a:ext cx="336408" cy="496162"/>
                  </a:xfrm>
                  <a:prstGeom prst="chevron">
                    <a:avLst/>
                  </a:prstGeom>
                  <a:solidFill>
                    <a:srgbClr val="FFFFFF">
                      <a:lumMod val="85000"/>
                    </a:srgbClr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10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8" name="갈매기형 수장 167"/>
                  <p:cNvSpPr/>
                  <p:nvPr/>
                </p:nvSpPr>
                <p:spPr>
                  <a:xfrm>
                    <a:off x="3441836" y="3958263"/>
                    <a:ext cx="336408" cy="496162"/>
                  </a:xfrm>
                  <a:prstGeom prst="chevron">
                    <a:avLst/>
                  </a:prstGeom>
                  <a:solidFill>
                    <a:srgbClr val="FFFFFF">
                      <a:lumMod val="85000"/>
                    </a:srgbClr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ko-KR" altLang="en-US" sz="10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165" name="TextBox 164"/>
                <p:cNvSpPr txBox="1"/>
                <p:nvPr/>
              </p:nvSpPr>
              <p:spPr>
                <a:xfrm>
                  <a:off x="2605541" y="4257347"/>
                  <a:ext cx="352075" cy="100993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ko-KR" altLang="en-US" sz="10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rPr>
                    <a:t>실제</a:t>
                  </a:r>
                  <a:endParaRPr kumimoji="0" lang="en-US" altLang="ko-KR" sz="1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ko-KR" sz="10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rPr>
                    <a:t>Data </a:t>
                  </a:r>
                </a:p>
              </p:txBody>
            </p:sp>
          </p:grpSp>
          <p:sp>
            <p:nvSpPr>
              <p:cNvPr id="163" name="AutoShape 9"/>
              <p:cNvSpPr>
                <a:spLocks noChangeArrowheads="1"/>
              </p:cNvSpPr>
              <p:nvPr/>
            </p:nvSpPr>
            <p:spPr bwMode="auto">
              <a:xfrm>
                <a:off x="5502830" y="5251240"/>
                <a:ext cx="828071" cy="958649"/>
              </a:xfrm>
              <a:prstGeom prst="irregularSeal1">
                <a:avLst/>
              </a:prstGeom>
              <a:solidFill>
                <a:srgbClr val="FF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99000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defTabSz="785813" eaLnBrk="0" hangingPunct="0">
                  <a:spcBef>
                    <a:spcPct val="45000"/>
                  </a:spcBef>
                  <a:buClr>
                    <a:srgbClr val="990000"/>
                  </a:buClr>
                  <a:buSzPct val="100000"/>
                  <a:defRPr sz="1400" b="1">
                    <a:solidFill>
                      <a:schemeClr val="tx1"/>
                    </a:solidFill>
                    <a:latin typeface="Arial" pitchFamily="34" charset="0"/>
                    <a:ea typeface="굴림" pitchFamily="50" charset="-127"/>
                  </a:defRPr>
                </a:lvl1pPr>
                <a:lvl2pPr marL="520700" indent="-166688" defTabSz="785813" eaLnBrk="0" hangingPunct="0">
                  <a:spcBef>
                    <a:spcPct val="45000"/>
                  </a:spcBef>
                  <a:buClr>
                    <a:srgbClr val="990000"/>
                  </a:buClr>
                  <a:buSzPct val="100000"/>
                  <a:buChar char="•"/>
                  <a:defRPr sz="1400">
                    <a:solidFill>
                      <a:schemeClr val="tx1"/>
                    </a:solidFill>
                    <a:latin typeface="Arial" pitchFamily="34" charset="0"/>
                    <a:ea typeface="가는각진제목체" pitchFamily="18" charset="-127"/>
                  </a:defRPr>
                </a:lvl2pPr>
                <a:lvl3pPr marL="831850" indent="-120650" defTabSz="785813" eaLnBrk="0" hangingPunct="0">
                  <a:spcBef>
                    <a:spcPct val="45000"/>
                  </a:spcBef>
                  <a:buClr>
                    <a:srgbClr val="990000"/>
                  </a:buClr>
                  <a:buSzPct val="100000"/>
                  <a:buChar char="-"/>
                  <a:defRPr sz="1200">
                    <a:solidFill>
                      <a:schemeClr val="tx1"/>
                    </a:solidFill>
                    <a:latin typeface="Arial" pitchFamily="34" charset="0"/>
                    <a:ea typeface="가는각진제목체" pitchFamily="18" charset="-127"/>
                  </a:defRPr>
                </a:lvl3pPr>
                <a:lvl4pPr marL="1241425" indent="-187325" defTabSz="785813" eaLnBrk="0" hangingPunct="0">
                  <a:spcBef>
                    <a:spcPct val="20000"/>
                  </a:spcBef>
                  <a:buChar char="»"/>
                  <a:defRPr sz="1200">
                    <a:solidFill>
                      <a:schemeClr val="tx1"/>
                    </a:solidFill>
                    <a:latin typeface="Arial" pitchFamily="34" charset="0"/>
                    <a:ea typeface="가는각진제목체" pitchFamily="18" charset="-127"/>
                  </a:defRPr>
                </a:lvl4pPr>
                <a:lvl5pPr marL="1533525" indent="-101600" defTabSz="785813" eaLnBrk="0" hangingPunct="0">
                  <a:spcBef>
                    <a:spcPct val="20000"/>
                  </a:spcBef>
                  <a:buChar char="»"/>
                  <a:defRPr sz="1200">
                    <a:solidFill>
                      <a:schemeClr val="tx1"/>
                    </a:solidFill>
                    <a:latin typeface="Arial" pitchFamily="34" charset="0"/>
                    <a:ea typeface="가는각진제목체" pitchFamily="18" charset="-127"/>
                  </a:defRPr>
                </a:lvl5pPr>
                <a:lvl6pPr marL="1990725" indent="-101600" defTabSz="78581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200">
                    <a:solidFill>
                      <a:schemeClr val="tx1"/>
                    </a:solidFill>
                    <a:latin typeface="Arial" pitchFamily="34" charset="0"/>
                    <a:ea typeface="가는각진제목체" pitchFamily="18" charset="-127"/>
                  </a:defRPr>
                </a:lvl6pPr>
                <a:lvl7pPr marL="2447925" indent="-101600" defTabSz="78581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200">
                    <a:solidFill>
                      <a:schemeClr val="tx1"/>
                    </a:solidFill>
                    <a:latin typeface="Arial" pitchFamily="34" charset="0"/>
                    <a:ea typeface="가는각진제목체" pitchFamily="18" charset="-127"/>
                  </a:defRPr>
                </a:lvl7pPr>
                <a:lvl8pPr marL="2905125" indent="-101600" defTabSz="78581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200">
                    <a:solidFill>
                      <a:schemeClr val="tx1"/>
                    </a:solidFill>
                    <a:latin typeface="Arial" pitchFamily="34" charset="0"/>
                    <a:ea typeface="가는각진제목체" pitchFamily="18" charset="-127"/>
                  </a:defRPr>
                </a:lvl8pPr>
                <a:lvl9pPr marL="3362325" indent="-101600" defTabSz="785813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200">
                    <a:solidFill>
                      <a:schemeClr val="tx1"/>
                    </a:solidFill>
                    <a:latin typeface="Arial" pitchFamily="34" charset="0"/>
                    <a:ea typeface="가는각진제목체" pitchFamily="18" charset="-127"/>
                  </a:defRPr>
                </a:lvl9pPr>
              </a:lstStyle>
              <a:p>
                <a:pPr marL="0" marR="0" lvl="0" indent="0" algn="ctr" defTabSz="785813" eaLnBrk="0" fontAlgn="auto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예측</a:t>
                </a:r>
                <a:endParaRPr kumimoji="0" lang="ko-KR" alt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159" name="직사각형 158"/>
            <p:cNvSpPr/>
            <p:nvPr/>
          </p:nvSpPr>
          <p:spPr>
            <a:xfrm>
              <a:off x="5145079" y="3723071"/>
              <a:ext cx="1587473" cy="2394295"/>
            </a:xfrm>
            <a:prstGeom prst="rect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171" name="직사각형 170"/>
          <p:cNvSpPr/>
          <p:nvPr/>
        </p:nvSpPr>
        <p:spPr>
          <a:xfrm>
            <a:off x="5269183" y="2966940"/>
            <a:ext cx="149987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Wingdings" panose="05000000000000000000" pitchFamily="2" charset="2"/>
              </a:rPr>
              <a:t>실제 판정 적용</a:t>
            </a:r>
            <a:endParaRPr kumimoji="1" lang="en-US" altLang="ko-KR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Wingdings" panose="05000000000000000000" pitchFamily="2" charset="2"/>
            </a:endParaRPr>
          </a:p>
        </p:txBody>
      </p:sp>
      <p:sp>
        <p:nvSpPr>
          <p:cNvPr id="172" name="직사각형 171"/>
          <p:cNvSpPr/>
          <p:nvPr/>
        </p:nvSpPr>
        <p:spPr>
          <a:xfrm>
            <a:off x="5269183" y="5561639"/>
            <a:ext cx="3997978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☞ 가장 핵심은 대량의 질 좋은 데이터를 어떻게 확보 하느냐가 관건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Wingdings" panose="05000000000000000000" pitchFamily="2" charset="2"/>
            </a:endParaRPr>
          </a:p>
        </p:txBody>
      </p:sp>
      <p:sp>
        <p:nvSpPr>
          <p:cNvPr id="174" name="직사각형 173">
            <a:hlinkClick r:id="rId4" action="ppaction://hlinksldjump"/>
          </p:cNvPr>
          <p:cNvSpPr/>
          <p:nvPr/>
        </p:nvSpPr>
        <p:spPr>
          <a:xfrm>
            <a:off x="9023838" y="284285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smtClean="0">
                <a:solidFill>
                  <a:schemeClr val="tx1"/>
                </a:solidFill>
              </a:rPr>
              <a:t>돌아가기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9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2"/>
          <p:cNvSpPr>
            <a:spLocks noGrp="1"/>
          </p:cNvSpPr>
          <p:nvPr>
            <p:ph type="title"/>
          </p:nvPr>
        </p:nvSpPr>
        <p:spPr>
          <a:xfrm>
            <a:off x="345513" y="209756"/>
            <a:ext cx="769936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[</a:t>
            </a:r>
            <a:r>
              <a:rPr lang="ko-KR" altLang="en-US" smtClean="0">
                <a:latin typeface="+mj-ea"/>
              </a:rPr>
              <a:t>참고</a:t>
            </a:r>
            <a:r>
              <a:rPr lang="en-US" altLang="ko-KR" dirty="0" smtClean="0">
                <a:latin typeface="+mj-ea"/>
              </a:rPr>
              <a:t>] </a:t>
            </a:r>
            <a:r>
              <a:rPr lang="ko-KR" altLang="en-US" smtClean="0">
                <a:latin typeface="+mj-ea"/>
              </a:rPr>
              <a:t>의사결정나무</a:t>
            </a:r>
            <a:r>
              <a:rPr lang="en-US" altLang="ko-KR" dirty="0" smtClean="0">
                <a:latin typeface="+mj-ea"/>
              </a:rPr>
              <a:t>(</a:t>
            </a:r>
            <a:r>
              <a:rPr lang="en-US" altLang="ko-KR" dirty="0">
                <a:latin typeface="맑은 고딕" pitchFamily="50" charset="-127"/>
              </a:rPr>
              <a:t>Decision </a:t>
            </a:r>
            <a:r>
              <a:rPr lang="en-US" altLang="ko-KR" dirty="0" smtClean="0">
                <a:latin typeface="+mj-ea"/>
              </a:rPr>
              <a:t>Tree) </a:t>
            </a:r>
            <a:r>
              <a:rPr lang="ko-KR" altLang="en-US" smtClean="0">
                <a:latin typeface="+mj-ea"/>
              </a:rPr>
              <a:t>설명을 위한 예시</a:t>
            </a:r>
            <a:endParaRPr lang="ko-KR" altLang="en-US" dirty="0">
              <a:latin typeface="+mj-ea"/>
            </a:endParaRPr>
          </a:p>
        </p:txBody>
      </p:sp>
      <p:sp>
        <p:nvSpPr>
          <p:cNvPr id="33" name="Rectangle 36"/>
          <p:cNvSpPr>
            <a:spLocks noChangeArrowheads="1"/>
          </p:cNvSpPr>
          <p:nvPr/>
        </p:nvSpPr>
        <p:spPr bwMode="auto">
          <a:xfrm>
            <a:off x="378069" y="713074"/>
            <a:ext cx="9349914" cy="36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/>
          <a:p>
            <a:pPr algn="l" defTabSz="844083" latinLnBrk="0">
              <a:lnSpc>
                <a:spcPct val="125000"/>
              </a:lnSpc>
              <a:defRPr/>
            </a:pPr>
            <a:r>
              <a:rPr kumimoji="1" lang="en-US" altLang="ko-KR" sz="1400" b="1" kern="0" dirty="0" smtClean="0">
                <a:solidFill>
                  <a:prstClr val="black"/>
                </a:solidFill>
              </a:rPr>
              <a:t>(</a:t>
            </a:r>
            <a:r>
              <a:rPr kumimoji="1" lang="ko-KR" altLang="en-US" sz="1400" b="1" kern="0" smtClean="0">
                <a:solidFill>
                  <a:prstClr val="black"/>
                </a:solidFill>
              </a:rPr>
              <a:t>교과서에 나오는</a:t>
            </a:r>
            <a:r>
              <a:rPr kumimoji="1" lang="en-US" altLang="ko-KR" sz="1400" b="1" kern="0" dirty="0" smtClean="0">
                <a:solidFill>
                  <a:prstClr val="black"/>
                </a:solidFill>
              </a:rPr>
              <a:t>)</a:t>
            </a:r>
            <a:r>
              <a:rPr kumimoji="1" lang="ko-KR" altLang="en-US" sz="1400" b="1" kern="0" smtClean="0">
                <a:solidFill>
                  <a:prstClr val="black"/>
                </a:solidFill>
              </a:rPr>
              <a:t> </a:t>
            </a:r>
            <a:r>
              <a:rPr kumimoji="1" lang="en-US" altLang="ko-KR" sz="1400" b="1" kern="0" dirty="0">
                <a:solidFill>
                  <a:prstClr val="black"/>
                </a:solidFill>
              </a:rPr>
              <a:t>『</a:t>
            </a:r>
            <a:r>
              <a:rPr kumimoji="1" lang="ko-KR" altLang="en-US" sz="1400" b="1" kern="0">
                <a:solidFill>
                  <a:prstClr val="black"/>
                </a:solidFill>
              </a:rPr>
              <a:t>주택대지크기</a:t>
            </a:r>
            <a:r>
              <a:rPr kumimoji="1" lang="en-US" altLang="ko-KR" sz="1400" b="1" kern="0" dirty="0">
                <a:solidFill>
                  <a:prstClr val="black"/>
                </a:solidFill>
              </a:rPr>
              <a:t>』</a:t>
            </a:r>
            <a:r>
              <a:rPr kumimoji="1" lang="ko-KR" altLang="en-US" sz="1400" b="1" kern="0">
                <a:solidFill>
                  <a:prstClr val="black"/>
                </a:solidFill>
              </a:rPr>
              <a:t>와 </a:t>
            </a:r>
            <a:r>
              <a:rPr kumimoji="1" lang="en-US" altLang="ko-KR" sz="1400" b="1" kern="0" dirty="0">
                <a:solidFill>
                  <a:prstClr val="black"/>
                </a:solidFill>
              </a:rPr>
              <a:t>『</a:t>
            </a:r>
            <a:r>
              <a:rPr kumimoji="1" lang="ko-KR" altLang="en-US" sz="1400" b="1" kern="0">
                <a:solidFill>
                  <a:prstClr val="black"/>
                </a:solidFill>
              </a:rPr>
              <a:t>소득</a:t>
            </a:r>
            <a:r>
              <a:rPr kumimoji="1" lang="en-US" altLang="ko-KR" sz="1400" b="1" kern="0" dirty="0">
                <a:solidFill>
                  <a:prstClr val="black"/>
                </a:solidFill>
              </a:rPr>
              <a:t>』</a:t>
            </a:r>
            <a:r>
              <a:rPr kumimoji="1" lang="ko-KR" altLang="en-US" sz="1400" b="1" kern="0">
                <a:solidFill>
                  <a:prstClr val="black"/>
                </a:solidFill>
              </a:rPr>
              <a:t> 기준 잔디깍기기계 소유여부를 의사결정나무로 분류하는 예시</a:t>
            </a:r>
            <a:endParaRPr kumimoji="1" lang="en-US" altLang="ko-KR" sz="1400" b="1" kern="0" dirty="0">
              <a:solidFill>
                <a:prstClr val="black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직사각형 35"/>
              <p:cNvSpPr/>
              <p:nvPr/>
            </p:nvSpPr>
            <p:spPr>
              <a:xfrm>
                <a:off x="3158720" y="5006859"/>
                <a:ext cx="3693899" cy="70814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82563" indent="-182563" algn="l" defTabSz="844083" latinLnBrk="0">
                  <a:lnSpc>
                    <a:spcPct val="10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ko-KR" altLang="en-US" sz="1200" b="0" kern="0" dirty="0" smtClean="0">
                    <a:solidFill>
                      <a:schemeClr val="tx1"/>
                    </a:solidFill>
                    <a:latin typeface="+mj-ea"/>
                    <a:ea typeface="+mj-ea"/>
                    <a:cs typeface="Arial"/>
                  </a:rPr>
                  <a:t>왼쪽상단 불순도</a:t>
                </a:r>
                <a:r>
                  <a:rPr lang="en-US" altLang="ko-KR" sz="1200" b="0" kern="0" dirty="0" smtClean="0">
                    <a:solidFill>
                      <a:schemeClr val="tx1"/>
                    </a:solidFill>
                    <a:latin typeface="+mj-ea"/>
                    <a:ea typeface="+mj-ea"/>
                    <a:cs typeface="Arial"/>
                  </a:rPr>
                  <a:t>= 1-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ko-KR" sz="1200" b="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</m:ctrlPr>
                      </m:sSupPr>
                      <m:e>
                        <m:r>
                          <a:rPr lang="en-US" altLang="ko-KR" sz="1200" b="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(</m:t>
                        </m:r>
                        <m:f>
                          <m:fPr>
                            <m:ctrlPr>
                              <a:rPr lang="en-US" altLang="ko-KR" sz="1200" b="0" i="1" ker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j-ea"/>
                              </a:rPr>
                            </m:ctrlPr>
                          </m:fPr>
                          <m:num>
                            <m:r>
                              <a:rPr lang="en-US" altLang="ko-KR" sz="1200" b="0" i="1" kern="0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j-ea"/>
                              </a:rPr>
                              <m:t>3</m:t>
                            </m:r>
                          </m:num>
                          <m:den>
                            <m:r>
                              <a:rPr lang="en-US" altLang="ko-KR" sz="1200" b="0" i="1" kern="0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+mj-ea"/>
                              </a:rPr>
                              <m:t>3</m:t>
                            </m:r>
                          </m:den>
                        </m:f>
                        <m:r>
                          <a:rPr lang="en-US" altLang="ko-KR" sz="1200" b="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)</m:t>
                        </m:r>
                      </m:e>
                      <m:sup>
                        <m:r>
                          <a:rPr lang="en-US" altLang="ko-KR" sz="1200" b="0" i="1" ker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ko-KR" sz="1200" b="0" kern="0" dirty="0" smtClean="0">
                    <a:solidFill>
                      <a:schemeClr val="tx1"/>
                    </a:solidFill>
                    <a:latin typeface="+mj-ea"/>
                    <a:ea typeface="+mj-ea"/>
                    <a:cs typeface="Arial"/>
                  </a:rPr>
                  <a:t> </a:t>
                </a:r>
                <a:r>
                  <a:rPr lang="en-US" altLang="ko-KR" sz="1200" b="0" kern="0" dirty="0">
                    <a:solidFill>
                      <a:schemeClr val="tx1"/>
                    </a:solidFill>
                    <a:latin typeface="+mj-ea"/>
                    <a:ea typeface="+mj-ea"/>
                    <a:cs typeface="Arial"/>
                  </a:rPr>
                  <a:t>= </a:t>
                </a:r>
                <a:r>
                  <a:rPr lang="en-US" altLang="ko-KR" sz="1200" b="0" kern="0" dirty="0" smtClean="0">
                    <a:solidFill>
                      <a:schemeClr val="tx1"/>
                    </a:solidFill>
                    <a:latin typeface="+mj-ea"/>
                    <a:ea typeface="+mj-ea"/>
                    <a:cs typeface="Arial"/>
                  </a:rPr>
                  <a:t>0%</a:t>
                </a:r>
              </a:p>
              <a:p>
                <a:pPr marL="182563" indent="-182563" algn="l" defTabSz="844083" latinLnBrk="0">
                  <a:lnSpc>
                    <a:spcPct val="10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ko-KR" altLang="en-US" sz="1200" b="0" kern="0" dirty="0" smtClean="0">
                    <a:latin typeface="+mj-ea"/>
                    <a:ea typeface="+mj-ea"/>
                    <a:cs typeface="Arial"/>
                  </a:rPr>
                  <a:t>왼쪽하단 </a:t>
                </a:r>
                <a:r>
                  <a:rPr lang="ko-KR" altLang="en-US" sz="1200" b="0" kern="0" dirty="0">
                    <a:latin typeface="+mj-ea"/>
                    <a:ea typeface="+mj-ea"/>
                    <a:cs typeface="Arial"/>
                  </a:rPr>
                  <a:t>불순도</a:t>
                </a:r>
                <a:r>
                  <a:rPr lang="en-US" altLang="ko-KR" sz="1200" b="0" kern="0" dirty="0">
                    <a:latin typeface="+mj-ea"/>
                    <a:ea typeface="+mj-ea"/>
                    <a:cs typeface="Arial"/>
                  </a:rPr>
                  <a:t>= 1-{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ko-KR" sz="1200" b="0" i="1" kern="0">
                            <a:latin typeface="Cambria Math" panose="02040503050406030204" pitchFamily="18" charset="0"/>
                            <a:ea typeface="+mj-ea"/>
                          </a:rPr>
                        </m:ctrlPr>
                      </m:sSupPr>
                      <m:e>
                        <m:r>
                          <a:rPr lang="en-US" altLang="ko-KR" sz="1200" b="0" i="1" kern="0">
                            <a:latin typeface="Cambria Math" panose="02040503050406030204" pitchFamily="18" charset="0"/>
                            <a:ea typeface="+mj-ea"/>
                          </a:rPr>
                          <m:t>(</m:t>
                        </m:r>
                        <m:f>
                          <m:fPr>
                            <m:ctrlPr>
                              <a:rPr lang="en-US" altLang="ko-KR" sz="1200" b="0" i="1" kern="0">
                                <a:latin typeface="Cambria Math" panose="02040503050406030204" pitchFamily="18" charset="0"/>
                                <a:ea typeface="+mj-ea"/>
                              </a:rPr>
                            </m:ctrlPr>
                          </m:fPr>
                          <m:num>
                            <m:r>
                              <a:rPr lang="en-US" altLang="ko-KR" sz="1200" b="0" i="1" kern="0">
                                <a:latin typeface="Cambria Math" panose="02040503050406030204" pitchFamily="18" charset="0"/>
                                <a:ea typeface="+mj-ea"/>
                              </a:rPr>
                              <m:t>8</m:t>
                            </m:r>
                          </m:num>
                          <m:den>
                            <m:r>
                              <a:rPr lang="en-US" altLang="ko-KR" sz="1200" b="0" i="1" kern="0">
                                <a:latin typeface="Cambria Math" panose="02040503050406030204" pitchFamily="18" charset="0"/>
                                <a:ea typeface="+mj-ea"/>
                              </a:rPr>
                              <m:t>9</m:t>
                            </m:r>
                          </m:den>
                        </m:f>
                        <m:r>
                          <a:rPr lang="en-US" altLang="ko-KR" sz="1200" b="0" i="1" kern="0">
                            <a:latin typeface="Cambria Math" panose="02040503050406030204" pitchFamily="18" charset="0"/>
                            <a:ea typeface="+mj-ea"/>
                          </a:rPr>
                          <m:t>)</m:t>
                        </m:r>
                      </m:e>
                      <m:sup>
                        <m:r>
                          <a:rPr lang="en-US" altLang="ko-KR" sz="1200" b="0" i="1" kern="0">
                            <a:latin typeface="Cambria Math" panose="02040503050406030204" pitchFamily="18" charset="0"/>
                            <a:ea typeface="+mj-ea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ko-KR" sz="1200" b="0" kern="0" dirty="0">
                    <a:latin typeface="+mj-ea"/>
                    <a:ea typeface="+mj-ea"/>
                    <a:cs typeface="Arial"/>
                  </a:rPr>
                  <a:t>+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ko-KR" sz="1200" b="0" i="1" kern="0">
                            <a:latin typeface="Cambria Math" panose="02040503050406030204" pitchFamily="18" charset="0"/>
                            <a:ea typeface="+mj-ea"/>
                          </a:rPr>
                        </m:ctrlPr>
                      </m:sSupPr>
                      <m:e>
                        <m:r>
                          <a:rPr lang="en-US" altLang="ko-KR" sz="1200" b="0" i="1" kern="0">
                            <a:latin typeface="Cambria Math" panose="02040503050406030204" pitchFamily="18" charset="0"/>
                            <a:ea typeface="+mj-ea"/>
                          </a:rPr>
                          <m:t>(</m:t>
                        </m:r>
                        <m:f>
                          <m:fPr>
                            <m:ctrlPr>
                              <a:rPr lang="en-US" altLang="ko-KR" sz="1200" b="0" i="1" kern="0">
                                <a:latin typeface="Cambria Math" panose="02040503050406030204" pitchFamily="18" charset="0"/>
                                <a:ea typeface="+mj-ea"/>
                              </a:rPr>
                            </m:ctrlPr>
                          </m:fPr>
                          <m:num>
                            <m:r>
                              <a:rPr lang="en-US" altLang="ko-KR" sz="1200" b="0" i="1" kern="0">
                                <a:latin typeface="Cambria Math" panose="02040503050406030204" pitchFamily="18" charset="0"/>
                                <a:ea typeface="+mj-ea"/>
                              </a:rPr>
                              <m:t>1</m:t>
                            </m:r>
                          </m:num>
                          <m:den>
                            <m:r>
                              <a:rPr lang="en-US" altLang="ko-KR" sz="1200" b="0" i="1" kern="0">
                                <a:latin typeface="Cambria Math" panose="02040503050406030204" pitchFamily="18" charset="0"/>
                                <a:ea typeface="+mj-ea"/>
                              </a:rPr>
                              <m:t>9</m:t>
                            </m:r>
                          </m:den>
                        </m:f>
                        <m:r>
                          <a:rPr lang="en-US" altLang="ko-KR" sz="1200" b="0" i="1" kern="0">
                            <a:latin typeface="Cambria Math" panose="02040503050406030204" pitchFamily="18" charset="0"/>
                            <a:ea typeface="+mj-ea"/>
                          </a:rPr>
                          <m:t>)</m:t>
                        </m:r>
                      </m:e>
                      <m:sup>
                        <m:r>
                          <a:rPr lang="en-US" altLang="ko-KR" sz="1200" b="0" i="1" kern="0">
                            <a:latin typeface="Cambria Math" panose="02040503050406030204" pitchFamily="18" charset="0"/>
                            <a:ea typeface="+mj-ea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ko-KR" sz="1200" b="0" kern="0" dirty="0">
                    <a:latin typeface="+mj-ea"/>
                    <a:ea typeface="+mj-ea"/>
                    <a:cs typeface="Arial"/>
                  </a:rPr>
                  <a:t> } = </a:t>
                </a:r>
                <a:r>
                  <a:rPr lang="en-US" altLang="ko-KR" sz="1200" b="0" kern="0" dirty="0" smtClean="0">
                    <a:latin typeface="+mj-ea"/>
                    <a:ea typeface="+mj-ea"/>
                    <a:cs typeface="Arial"/>
                  </a:rPr>
                  <a:t>20% </a:t>
                </a:r>
                <a:endParaRPr lang="en-US" altLang="ko-KR" sz="1200" b="0" kern="0" dirty="0">
                  <a:latin typeface="+mj-ea"/>
                  <a:ea typeface="+mj-ea"/>
                  <a:cs typeface="Arial"/>
                </a:endParaRPr>
              </a:p>
            </p:txBody>
          </p:sp>
        </mc:Choice>
        <mc:Fallback xmlns="">
          <p:sp>
            <p:nvSpPr>
              <p:cNvPr id="36" name="직사각형 3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8720" y="5006859"/>
                <a:ext cx="3693899" cy="708143"/>
              </a:xfrm>
              <a:prstGeom prst="rect">
                <a:avLst/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직사각형 37"/>
          <p:cNvSpPr/>
          <p:nvPr/>
        </p:nvSpPr>
        <p:spPr>
          <a:xfrm>
            <a:off x="3247346" y="4664336"/>
            <a:ext cx="1470274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 defTabSz="844083" latinLnBrk="0">
              <a:lnSpc>
                <a:spcPct val="150000"/>
              </a:lnSpc>
              <a:defRPr/>
            </a:pPr>
            <a:r>
              <a:rPr lang="en-US" altLang="ko-KR" sz="1100" u="sng" dirty="0" smtClean="0">
                <a:solidFill>
                  <a:prstClr val="black"/>
                </a:solidFill>
                <a:latin typeface="+mj-ea"/>
                <a:ea typeface="+mj-ea"/>
              </a:rPr>
              <a:t>2</a:t>
            </a:r>
            <a:r>
              <a:rPr lang="en-US" altLang="ko-KR" sz="1100" u="sng" baseline="30000" dirty="0" smtClean="0">
                <a:solidFill>
                  <a:prstClr val="black"/>
                </a:solidFill>
                <a:latin typeface="+mj-ea"/>
                <a:ea typeface="+mj-ea"/>
              </a:rPr>
              <a:t>nd</a:t>
            </a:r>
            <a:r>
              <a:rPr lang="en-US" altLang="ko-KR" sz="1100" u="sng" dirty="0" smtClean="0">
                <a:solidFill>
                  <a:prstClr val="black"/>
                </a:solidFill>
                <a:latin typeface="+mj-ea"/>
                <a:ea typeface="+mj-ea"/>
              </a:rPr>
              <a:t> </a:t>
            </a:r>
            <a:r>
              <a:rPr lang="ko-KR" altLang="en-US" sz="1100" u="sng" smtClean="0">
                <a:solidFill>
                  <a:prstClr val="black"/>
                </a:solidFill>
                <a:latin typeface="+mj-ea"/>
                <a:ea typeface="+mj-ea"/>
              </a:rPr>
              <a:t>분할까지 불순도</a:t>
            </a:r>
            <a:endParaRPr lang="en-US" altLang="ko-KR" sz="1100" u="sng" dirty="0">
              <a:solidFill>
                <a:prstClr val="black"/>
              </a:solidFill>
              <a:latin typeface="+mj-ea"/>
              <a:ea typeface="+mj-e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직사각형 38"/>
              <p:cNvSpPr/>
              <p:nvPr/>
            </p:nvSpPr>
            <p:spPr>
              <a:xfrm>
                <a:off x="6264874" y="5005961"/>
                <a:ext cx="3295379" cy="7067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82563" lvl="0" indent="-182563" algn="l" defTabSz="844083" latinLnBrk="0">
                  <a:lnSpc>
                    <a:spcPct val="10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ko-KR" altLang="en-US" sz="1200" dirty="0" smtClean="0">
                    <a:solidFill>
                      <a:prstClr val="black"/>
                    </a:solidFill>
                    <a:latin typeface="+mj-ea"/>
                    <a:ea typeface="+mj-ea"/>
                  </a:rPr>
                  <a:t>오른쪽상단 </a:t>
                </a:r>
                <a:r>
                  <a:rPr lang="ko-KR" altLang="en-US" sz="1200" dirty="0">
                    <a:solidFill>
                      <a:prstClr val="black"/>
                    </a:solidFill>
                    <a:latin typeface="+mj-ea"/>
                    <a:ea typeface="+mj-ea"/>
                  </a:rPr>
                  <a:t>불순도 </a:t>
                </a:r>
                <a:r>
                  <a:rPr lang="en-US" altLang="ko-KR" sz="1200" b="0" kern="0" dirty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= </a:t>
                </a:r>
                <a:r>
                  <a:rPr lang="en-US" altLang="ko-KR" sz="1200" b="0" kern="0" dirty="0" smtClean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1-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ko-KR" sz="1200" b="0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</m:ctrlPr>
                      </m:sSupPr>
                      <m:e>
                        <m:r>
                          <a:rPr lang="en-US" altLang="ko-KR" sz="1200" b="0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(</m:t>
                        </m:r>
                        <m:f>
                          <m:fPr>
                            <m:ctrlPr>
                              <a:rPr lang="en-US" altLang="ko-KR" sz="1200" b="0" i="1" ker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+mj-ea"/>
                              </a:rPr>
                            </m:ctrlPr>
                          </m:fPr>
                          <m:num>
                            <m:r>
                              <a:rPr lang="en-US" altLang="ko-KR" sz="1200" b="0" i="1" kern="0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+mj-ea"/>
                              </a:rPr>
                              <m:t>7</m:t>
                            </m:r>
                          </m:num>
                          <m:den>
                            <m:r>
                              <a:rPr lang="en-US" altLang="ko-KR" sz="1200" b="0" i="1" kern="0" smtClean="0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  <a:ea typeface="+mj-ea"/>
                              </a:rPr>
                              <m:t>7</m:t>
                            </m:r>
                          </m:den>
                        </m:f>
                        <m:r>
                          <a:rPr lang="en-US" altLang="ko-KR" sz="1200" b="0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)</m:t>
                        </m:r>
                      </m:e>
                      <m:sup>
                        <m:r>
                          <a:rPr lang="en-US" altLang="ko-KR" sz="1200" b="0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ko-KR" sz="1200" b="0" kern="0" dirty="0" smtClean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 </a:t>
                </a:r>
                <a:r>
                  <a:rPr lang="en-US" altLang="ko-KR" sz="1200" b="0" kern="0" dirty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= </a:t>
                </a:r>
                <a:r>
                  <a:rPr lang="en-US" altLang="ko-KR" sz="1200" b="0" kern="0" dirty="0" smtClean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0%</a:t>
                </a:r>
                <a:endParaRPr lang="en-US" altLang="ko-KR" sz="1200" b="0" kern="0" dirty="0">
                  <a:solidFill>
                    <a:prstClr val="black"/>
                  </a:solidFill>
                  <a:latin typeface="+mj-ea"/>
                  <a:ea typeface="+mj-ea"/>
                  <a:cs typeface="Arial"/>
                </a:endParaRPr>
              </a:p>
              <a:p>
                <a:pPr marL="182563" indent="-182563" algn="l" defTabSz="844083" latinLnBrk="0">
                  <a:lnSpc>
                    <a:spcPct val="10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ko-KR" altLang="en-US" sz="1200" dirty="0" smtClean="0">
                    <a:latin typeface="+mj-ea"/>
                    <a:ea typeface="+mj-ea"/>
                  </a:rPr>
                  <a:t>오른쪽하단 불순도 </a:t>
                </a:r>
                <a:r>
                  <a:rPr lang="en-US" altLang="ko-KR" sz="1200" b="0" kern="0" dirty="0" smtClean="0">
                    <a:solidFill>
                      <a:schemeClr val="tx1"/>
                    </a:solidFill>
                    <a:latin typeface="+mj-ea"/>
                    <a:ea typeface="+mj-ea"/>
                    <a:cs typeface="Arial"/>
                  </a:rPr>
                  <a:t>=</a:t>
                </a:r>
                <a:r>
                  <a:rPr lang="en-US" altLang="ko-KR" sz="1200" b="0" kern="0" dirty="0">
                    <a:latin typeface="+mj-ea"/>
                    <a:ea typeface="+mj-ea"/>
                    <a:cs typeface="Arial"/>
                  </a:rPr>
                  <a:t> 1-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ko-KR" sz="1200" b="0" i="1" kern="0">
                            <a:latin typeface="Cambria Math" panose="02040503050406030204" pitchFamily="18" charset="0"/>
                            <a:ea typeface="+mj-ea"/>
                          </a:rPr>
                        </m:ctrlPr>
                      </m:sSupPr>
                      <m:e>
                        <m:r>
                          <a:rPr lang="en-US" altLang="ko-KR" sz="1200" b="0" i="1" kern="0">
                            <a:latin typeface="Cambria Math" panose="02040503050406030204" pitchFamily="18" charset="0"/>
                            <a:ea typeface="+mj-ea"/>
                          </a:rPr>
                          <m:t>(</m:t>
                        </m:r>
                        <m:f>
                          <m:fPr>
                            <m:ctrlPr>
                              <a:rPr lang="en-US" altLang="ko-KR" sz="1200" b="0" i="1" kern="0">
                                <a:latin typeface="Cambria Math" panose="02040503050406030204" pitchFamily="18" charset="0"/>
                                <a:ea typeface="+mj-ea"/>
                              </a:rPr>
                            </m:ctrlPr>
                          </m:fPr>
                          <m:num>
                            <m:r>
                              <a:rPr lang="en-US" altLang="ko-KR" sz="1200" b="0" i="1" kern="0" smtClean="0">
                                <a:latin typeface="Cambria Math" panose="02040503050406030204" pitchFamily="18" charset="0"/>
                                <a:ea typeface="+mj-ea"/>
                              </a:rPr>
                              <m:t>3</m:t>
                            </m:r>
                          </m:num>
                          <m:den>
                            <m:r>
                              <a:rPr lang="en-US" altLang="ko-KR" sz="1200" b="0" i="1" kern="0" smtClean="0">
                                <a:latin typeface="Cambria Math" panose="02040503050406030204" pitchFamily="18" charset="0"/>
                                <a:ea typeface="+mj-ea"/>
                              </a:rPr>
                              <m:t>3</m:t>
                            </m:r>
                          </m:den>
                        </m:f>
                        <m:r>
                          <a:rPr lang="en-US" altLang="ko-KR" sz="1200" b="0" i="1" kern="0">
                            <a:latin typeface="Cambria Math" panose="02040503050406030204" pitchFamily="18" charset="0"/>
                            <a:ea typeface="+mj-ea"/>
                          </a:rPr>
                          <m:t>)</m:t>
                        </m:r>
                      </m:e>
                      <m:sup>
                        <m:r>
                          <a:rPr lang="en-US" altLang="ko-KR" sz="1200" b="0" i="1" kern="0">
                            <a:latin typeface="Cambria Math" panose="02040503050406030204" pitchFamily="18" charset="0"/>
                            <a:ea typeface="+mj-ea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ko-KR" sz="1200" b="0" kern="0" dirty="0">
                    <a:latin typeface="+mj-ea"/>
                    <a:ea typeface="+mj-ea"/>
                    <a:cs typeface="Arial"/>
                  </a:rPr>
                  <a:t> = </a:t>
                </a:r>
                <a:r>
                  <a:rPr lang="en-US" altLang="ko-KR" sz="1200" b="0" kern="0" dirty="0" smtClean="0">
                    <a:latin typeface="+mj-ea"/>
                    <a:ea typeface="+mj-ea"/>
                    <a:cs typeface="Arial"/>
                  </a:rPr>
                  <a:t>0%</a:t>
                </a:r>
                <a:endParaRPr lang="en-US" altLang="ko-KR" sz="1200" b="0" kern="0" dirty="0" smtClean="0">
                  <a:solidFill>
                    <a:schemeClr val="tx1"/>
                  </a:solidFill>
                  <a:latin typeface="+mj-ea"/>
                  <a:ea typeface="+mj-ea"/>
                  <a:cs typeface="Arial"/>
                </a:endParaRPr>
              </a:p>
            </p:txBody>
          </p:sp>
        </mc:Choice>
        <mc:Fallback xmlns="">
          <p:sp>
            <p:nvSpPr>
              <p:cNvPr id="39" name="직사각형 3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64874" y="5005961"/>
                <a:ext cx="3295379" cy="706797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직사각형 39"/>
              <p:cNvSpPr/>
              <p:nvPr/>
            </p:nvSpPr>
            <p:spPr>
              <a:xfrm>
                <a:off x="3247346" y="5709256"/>
                <a:ext cx="6208751" cy="54284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l" defTabSz="844083" latinLnBrk="0">
                  <a:lnSpc>
                    <a:spcPct val="100000"/>
                  </a:lnSpc>
                  <a:defRPr/>
                </a:pPr>
                <a:r>
                  <a:rPr lang="ko-KR" altLang="en-US" sz="1200" kern="0" dirty="0" smtClean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☞ 통합 </a:t>
                </a:r>
                <a:r>
                  <a:rPr lang="ko-KR" altLang="en-US" sz="1200" kern="0" dirty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불순도 </a:t>
                </a:r>
                <a:r>
                  <a:rPr lang="en-US" altLang="ko-KR" sz="1200" kern="0" dirty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= </a:t>
                </a:r>
                <a14:m>
                  <m:oMath xmlns:m="http://schemas.openxmlformats.org/officeDocument/2006/math">
                    <m:r>
                      <a:rPr lang="en-US" altLang="ko-KR" sz="1200" b="1" i="1" ker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+mj-ea"/>
                      </a:rPr>
                      <m:t>(</m:t>
                    </m:r>
                    <m:f>
                      <m:fPr>
                        <m:ctrlPr>
                          <a:rPr lang="en-US" altLang="ko-KR" sz="1200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</m:ctrlPr>
                      </m:fPr>
                      <m:num>
                        <m:r>
                          <a:rPr lang="en-US" altLang="ko-KR" sz="1200" b="1" i="1" kern="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𝟑</m:t>
                        </m:r>
                      </m:num>
                      <m:den>
                        <m:r>
                          <a:rPr lang="en-US" altLang="ko-KR" sz="1200" b="1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𝟐𝟐</m:t>
                        </m:r>
                      </m:den>
                    </m:f>
                    <m:r>
                      <a:rPr lang="en-US" altLang="ko-KR" sz="1200" b="1" i="1" ker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+mj-ea"/>
                      </a:rPr>
                      <m:t>)</m:t>
                    </m:r>
                  </m:oMath>
                </a14:m>
                <a:r>
                  <a:rPr lang="en-US" altLang="ko-KR" sz="1200" kern="0" dirty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*</a:t>
                </a:r>
                <a:r>
                  <a:rPr lang="en-US" altLang="ko-KR" sz="1200" kern="0" dirty="0" smtClean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0% </a:t>
                </a:r>
                <a:r>
                  <a:rPr lang="en-US" altLang="ko-KR" sz="1200" kern="0" dirty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+ </a:t>
                </a:r>
                <a14:m>
                  <m:oMath xmlns:m="http://schemas.openxmlformats.org/officeDocument/2006/math">
                    <m:r>
                      <a:rPr lang="en-US" altLang="ko-KR" sz="1200" b="1" i="1" ker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+mj-ea"/>
                      </a:rPr>
                      <m:t>(</m:t>
                    </m:r>
                    <m:f>
                      <m:fPr>
                        <m:ctrlPr>
                          <a:rPr lang="en-US" altLang="ko-KR" sz="1200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</m:ctrlPr>
                      </m:fPr>
                      <m:num>
                        <m:r>
                          <a:rPr lang="en-US" altLang="ko-KR" sz="1200" b="1" i="1" kern="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𝟕</m:t>
                        </m:r>
                      </m:num>
                      <m:den>
                        <m:r>
                          <a:rPr lang="en-US" altLang="ko-KR" sz="1200" b="1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𝟐𝟐</m:t>
                        </m:r>
                      </m:den>
                    </m:f>
                    <m:r>
                      <a:rPr lang="en-US" altLang="ko-KR" sz="1200" b="1" i="1" ker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+mj-ea"/>
                      </a:rPr>
                      <m:t>)</m:t>
                    </m:r>
                  </m:oMath>
                </a14:m>
                <a:r>
                  <a:rPr lang="en-US" altLang="ko-KR" sz="1200" kern="0" dirty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*</a:t>
                </a:r>
                <a:r>
                  <a:rPr lang="en-US" altLang="ko-KR" sz="1200" kern="0" dirty="0" smtClean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0% </a:t>
                </a:r>
                <a:r>
                  <a:rPr lang="en-US" altLang="ko-KR" sz="1200" kern="0" dirty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+ </a:t>
                </a:r>
                <a14:m>
                  <m:oMath xmlns:m="http://schemas.openxmlformats.org/officeDocument/2006/math">
                    <m:r>
                      <a:rPr lang="en-US" altLang="ko-KR" sz="1200" b="1" i="1" ker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+mj-ea"/>
                      </a:rPr>
                      <m:t>(</m:t>
                    </m:r>
                    <m:f>
                      <m:fPr>
                        <m:ctrlPr>
                          <a:rPr lang="en-US" altLang="ko-KR" sz="1200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</m:ctrlPr>
                      </m:fPr>
                      <m:num>
                        <m:r>
                          <a:rPr lang="en-US" altLang="ko-KR" sz="1200" b="1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𝟗</m:t>
                        </m:r>
                      </m:num>
                      <m:den>
                        <m:r>
                          <a:rPr lang="en-US" altLang="ko-KR" sz="1200" b="1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𝟐𝟐</m:t>
                        </m:r>
                      </m:den>
                    </m:f>
                    <m:r>
                      <a:rPr lang="en-US" altLang="ko-KR" sz="1200" b="1" i="1" ker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+mj-ea"/>
                      </a:rPr>
                      <m:t>)</m:t>
                    </m:r>
                  </m:oMath>
                </a14:m>
                <a:r>
                  <a:rPr lang="en-US" altLang="ko-KR" sz="1200" kern="0" dirty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*</a:t>
                </a:r>
                <a:r>
                  <a:rPr lang="en-US" altLang="ko-KR" sz="1200" kern="0" dirty="0" smtClean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20% </a:t>
                </a:r>
                <a:r>
                  <a:rPr lang="en-US" altLang="ko-KR" sz="1200" kern="0" dirty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+ </a:t>
                </a:r>
                <a14:m>
                  <m:oMath xmlns:m="http://schemas.openxmlformats.org/officeDocument/2006/math">
                    <m:r>
                      <a:rPr lang="en-US" altLang="ko-KR" sz="1200" b="1" i="1" ker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+mj-ea"/>
                      </a:rPr>
                      <m:t>(</m:t>
                    </m:r>
                    <m:f>
                      <m:fPr>
                        <m:ctrlPr>
                          <a:rPr lang="en-US" altLang="ko-KR" sz="1200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</m:ctrlPr>
                      </m:fPr>
                      <m:num>
                        <m:r>
                          <a:rPr lang="en-US" altLang="ko-KR" sz="1200" b="1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𝟑</m:t>
                        </m:r>
                      </m:num>
                      <m:den>
                        <m:r>
                          <a:rPr lang="en-US" altLang="ko-KR" sz="1200" b="1" i="1" ker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+mj-ea"/>
                          </a:rPr>
                          <m:t>𝟐𝟐</m:t>
                        </m:r>
                      </m:den>
                    </m:f>
                    <m:r>
                      <a:rPr lang="en-US" altLang="ko-KR" sz="1200" b="1" i="1" ker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+mj-ea"/>
                      </a:rPr>
                      <m:t>)</m:t>
                    </m:r>
                  </m:oMath>
                </a14:m>
                <a:r>
                  <a:rPr lang="en-US" altLang="ko-KR" sz="1200" kern="0" dirty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*</a:t>
                </a:r>
                <a:r>
                  <a:rPr lang="en-US" altLang="ko-KR" sz="1200" kern="0" dirty="0" smtClean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0% </a:t>
                </a:r>
                <a:r>
                  <a:rPr lang="en-US" altLang="ko-KR" sz="1200" kern="0" dirty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= </a:t>
                </a:r>
                <a:r>
                  <a:rPr lang="en-US" altLang="ko-KR" sz="1200" kern="0" dirty="0" smtClean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8.1% </a:t>
                </a:r>
                <a:br>
                  <a:rPr lang="en-US" altLang="ko-KR" sz="1200" kern="0" dirty="0" smtClean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</a:br>
                <a:r>
                  <a:rPr lang="en-US" altLang="ko-KR" sz="1200" kern="0" dirty="0" smtClean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                                                                                 (</a:t>
                </a:r>
                <a:r>
                  <a:rPr lang="ko-KR" altLang="en-US" sz="1200" kern="0" smtClean="0">
                    <a:solidFill>
                      <a:srgbClr val="0000FF"/>
                    </a:solidFill>
                    <a:latin typeface="+mj-ea"/>
                    <a:ea typeface="+mj-ea"/>
                    <a:cs typeface="Arial"/>
                  </a:rPr>
                  <a:t>분할前 대비 </a:t>
                </a:r>
                <a:r>
                  <a:rPr lang="en-US" altLang="ko-KR" sz="1200" kern="0" dirty="0" smtClean="0">
                    <a:solidFill>
                      <a:srgbClr val="0000FF"/>
                    </a:solidFill>
                    <a:latin typeface="+mj-ea"/>
                    <a:ea typeface="+mj-ea"/>
                    <a:cs typeface="Arial"/>
                  </a:rPr>
                  <a:t>16%</a:t>
                </a:r>
                <a:r>
                  <a:rPr lang="ko-KR" altLang="en-US" sz="1200" kern="0" smtClean="0">
                    <a:solidFill>
                      <a:srgbClr val="0000FF"/>
                    </a:solidFill>
                    <a:latin typeface="+mj-ea"/>
                    <a:ea typeface="+mj-ea"/>
                    <a:cs typeface="Arial"/>
                  </a:rPr>
                  <a:t>수준</a:t>
                </a:r>
                <a:r>
                  <a:rPr lang="en-US" altLang="ko-KR" sz="1200" kern="0" dirty="0" smtClean="0">
                    <a:solidFill>
                      <a:prstClr val="black"/>
                    </a:solidFill>
                    <a:latin typeface="+mj-ea"/>
                    <a:ea typeface="+mj-ea"/>
                    <a:cs typeface="Arial"/>
                  </a:rPr>
                  <a:t>)</a:t>
                </a:r>
                <a:endParaRPr lang="en-US" altLang="ko-KR" sz="1200" kern="0" dirty="0">
                  <a:solidFill>
                    <a:prstClr val="black"/>
                  </a:solidFill>
                  <a:latin typeface="+mj-ea"/>
                  <a:ea typeface="+mj-ea"/>
                  <a:cs typeface="Arial"/>
                </a:endParaRPr>
              </a:p>
            </p:txBody>
          </p:sp>
        </mc:Choice>
        <mc:Fallback xmlns="">
          <p:sp>
            <p:nvSpPr>
              <p:cNvPr id="40" name="직사각형 3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7346" y="5709256"/>
                <a:ext cx="6208751" cy="542841"/>
              </a:xfrm>
              <a:prstGeom prst="rect">
                <a:avLst/>
              </a:prstGeom>
              <a:blipFill rotWithShape="0">
                <a:blip r:embed="rId4"/>
                <a:stretch>
                  <a:fillRect l="-98" b="-7865"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1" name="직사각형 40"/>
          <p:cNvSpPr/>
          <p:nvPr/>
        </p:nvSpPr>
        <p:spPr>
          <a:xfrm>
            <a:off x="720901" y="4663488"/>
            <a:ext cx="1838965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 defTabSz="844083" latinLnBrk="0">
              <a:lnSpc>
                <a:spcPct val="150000"/>
              </a:lnSpc>
              <a:defRPr/>
            </a:pPr>
            <a:r>
              <a:rPr lang="ko-KR" altLang="en-US" sz="1100" u="sng" smtClean="0">
                <a:solidFill>
                  <a:prstClr val="black"/>
                </a:solidFill>
                <a:latin typeface="+mj-ea"/>
                <a:ea typeface="+mj-ea"/>
              </a:rPr>
              <a:t>시작시점 불순도</a:t>
            </a:r>
            <a:r>
              <a:rPr lang="en-US" altLang="ko-KR" sz="1100" u="sng" dirty="0" smtClean="0">
                <a:solidFill>
                  <a:prstClr val="black"/>
                </a:solidFill>
                <a:latin typeface="+mj-ea"/>
                <a:ea typeface="+mj-ea"/>
              </a:rPr>
              <a:t>(</a:t>
            </a:r>
            <a:r>
              <a:rPr lang="en-US" altLang="ko-KR" sz="1100" u="sng" dirty="0">
                <a:solidFill>
                  <a:prstClr val="black"/>
                </a:solidFill>
                <a:latin typeface="+mj-ea"/>
                <a:ea typeface="+mj-ea"/>
              </a:rPr>
              <a:t>Impurity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직사각형 41"/>
              <p:cNvSpPr/>
              <p:nvPr/>
            </p:nvSpPr>
            <p:spPr>
              <a:xfrm>
                <a:off x="636722" y="5077271"/>
                <a:ext cx="2027340" cy="82984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82563" indent="-182563" algn="l" defTabSz="844083" latinLnBrk="0">
                  <a:lnSpc>
                    <a:spcPct val="15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ko-KR" altLang="en-US" sz="1200" kern="0" dirty="0" smtClean="0">
                    <a:latin typeface="+mj-ea"/>
                    <a:ea typeface="+mj-ea"/>
                    <a:cs typeface="Arial"/>
                  </a:rPr>
                  <a:t>통합불순도</a:t>
                </a:r>
                <a:r>
                  <a:rPr lang="en-US" altLang="ko-KR" sz="1200" kern="0" dirty="0">
                    <a:latin typeface="+mj-ea"/>
                    <a:ea typeface="+mj-ea"/>
                    <a:cs typeface="Arial"/>
                  </a:rPr>
                  <a:t> </a:t>
                </a:r>
                <a:r>
                  <a:rPr lang="en-US" altLang="ko-KR" sz="1200" kern="0" dirty="0" smtClean="0">
                    <a:latin typeface="+mj-ea"/>
                    <a:ea typeface="+mj-ea"/>
                    <a:cs typeface="Arial"/>
                  </a:rPr>
                  <a:t>= </a:t>
                </a:r>
                <a:br>
                  <a:rPr lang="en-US" altLang="ko-KR" sz="1200" kern="0" dirty="0" smtClean="0">
                    <a:latin typeface="+mj-ea"/>
                    <a:ea typeface="+mj-ea"/>
                    <a:cs typeface="Arial"/>
                  </a:rPr>
                </a:br>
                <a:r>
                  <a:rPr lang="en-US" altLang="ko-KR" sz="1200" kern="0" dirty="0" smtClean="0">
                    <a:latin typeface="+mj-ea"/>
                    <a:ea typeface="+mj-ea"/>
                    <a:cs typeface="Arial"/>
                  </a:rPr>
                  <a:t>1-</a:t>
                </a:r>
                <a:r>
                  <a:rPr lang="en-US" altLang="ko-KR" sz="1200" kern="0" dirty="0">
                    <a:latin typeface="+mj-ea"/>
                    <a:ea typeface="+mj-ea"/>
                    <a:cs typeface="Arial"/>
                  </a:rPr>
                  <a:t>{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ko-KR" sz="1200" i="1" kern="0">
                            <a:latin typeface="Cambria Math" panose="02040503050406030204" pitchFamily="18" charset="0"/>
                            <a:ea typeface="+mj-ea"/>
                          </a:rPr>
                        </m:ctrlPr>
                      </m:sSupPr>
                      <m:e>
                        <m:r>
                          <a:rPr lang="en-US" altLang="ko-KR" sz="1200" b="1" i="1" kern="0">
                            <a:latin typeface="Cambria Math" panose="02040503050406030204" pitchFamily="18" charset="0"/>
                            <a:ea typeface="+mj-ea"/>
                          </a:rPr>
                          <m:t>(</m:t>
                        </m:r>
                        <m:f>
                          <m:fPr>
                            <m:ctrlPr>
                              <a:rPr lang="en-US" altLang="ko-KR" sz="1200" i="1" kern="0">
                                <a:latin typeface="Cambria Math" panose="02040503050406030204" pitchFamily="18" charset="0"/>
                                <a:ea typeface="+mj-ea"/>
                              </a:rPr>
                            </m:ctrlPr>
                          </m:fPr>
                          <m:num>
                            <m:r>
                              <a:rPr lang="en-US" altLang="ko-KR" sz="1200" b="1" i="1" kern="0" smtClean="0">
                                <a:latin typeface="Cambria Math" panose="02040503050406030204" pitchFamily="18" charset="0"/>
                                <a:ea typeface="+mj-ea"/>
                              </a:rPr>
                              <m:t>𝟏𝟏</m:t>
                            </m:r>
                          </m:num>
                          <m:den>
                            <m:r>
                              <a:rPr lang="en-US" altLang="ko-KR" sz="1200" b="1" i="1" kern="0" smtClean="0">
                                <a:latin typeface="Cambria Math" panose="02040503050406030204" pitchFamily="18" charset="0"/>
                                <a:ea typeface="+mj-ea"/>
                              </a:rPr>
                              <m:t>𝟐𝟐</m:t>
                            </m:r>
                          </m:den>
                        </m:f>
                        <m:r>
                          <a:rPr lang="en-US" altLang="ko-KR" sz="1200" b="1" i="1" kern="0">
                            <a:latin typeface="Cambria Math" panose="02040503050406030204" pitchFamily="18" charset="0"/>
                            <a:ea typeface="+mj-ea"/>
                          </a:rPr>
                          <m:t>)</m:t>
                        </m:r>
                      </m:e>
                      <m:sup>
                        <m:r>
                          <a:rPr lang="en-US" altLang="ko-KR" sz="1200" b="1" i="1" kern="0">
                            <a:latin typeface="Cambria Math" panose="02040503050406030204" pitchFamily="18" charset="0"/>
                            <a:ea typeface="+mj-ea"/>
                          </a:rPr>
                          <m:t>𝟐</m:t>
                        </m:r>
                      </m:sup>
                    </m:sSup>
                  </m:oMath>
                </a14:m>
                <a:r>
                  <a:rPr lang="en-US" altLang="ko-KR" sz="1200" kern="0" dirty="0">
                    <a:latin typeface="+mj-ea"/>
                    <a:ea typeface="+mj-ea"/>
                    <a:cs typeface="Arial"/>
                  </a:rPr>
                  <a:t>+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ko-KR" sz="1200" i="1" kern="0">
                            <a:latin typeface="Cambria Math" panose="02040503050406030204" pitchFamily="18" charset="0"/>
                            <a:ea typeface="+mj-ea"/>
                          </a:rPr>
                        </m:ctrlPr>
                      </m:sSupPr>
                      <m:e>
                        <m:r>
                          <a:rPr lang="en-US" altLang="ko-KR" sz="1200" b="1" i="1" kern="0">
                            <a:latin typeface="Cambria Math" panose="02040503050406030204" pitchFamily="18" charset="0"/>
                            <a:ea typeface="+mj-ea"/>
                          </a:rPr>
                          <m:t>(</m:t>
                        </m:r>
                        <m:f>
                          <m:fPr>
                            <m:ctrlPr>
                              <a:rPr lang="en-US" altLang="ko-KR" sz="1200" i="1" kern="0">
                                <a:latin typeface="Cambria Math" panose="02040503050406030204" pitchFamily="18" charset="0"/>
                                <a:ea typeface="+mj-ea"/>
                              </a:rPr>
                            </m:ctrlPr>
                          </m:fPr>
                          <m:num>
                            <m:r>
                              <a:rPr lang="en-US" altLang="ko-KR" sz="1200" b="1" i="1" kern="0">
                                <a:latin typeface="Cambria Math" panose="02040503050406030204" pitchFamily="18" charset="0"/>
                                <a:ea typeface="+mj-ea"/>
                              </a:rPr>
                              <m:t>𝟏</m:t>
                            </m:r>
                            <m:r>
                              <a:rPr lang="en-US" altLang="ko-KR" sz="1200" b="1" i="1" kern="0" smtClean="0">
                                <a:latin typeface="Cambria Math" panose="02040503050406030204" pitchFamily="18" charset="0"/>
                                <a:ea typeface="+mj-ea"/>
                              </a:rPr>
                              <m:t>𝟏</m:t>
                            </m:r>
                          </m:num>
                          <m:den>
                            <m:r>
                              <a:rPr lang="en-US" altLang="ko-KR" sz="1200" b="1" i="1" kern="0" smtClean="0">
                                <a:latin typeface="Cambria Math" panose="02040503050406030204" pitchFamily="18" charset="0"/>
                                <a:ea typeface="+mj-ea"/>
                              </a:rPr>
                              <m:t>𝟐𝟐</m:t>
                            </m:r>
                          </m:den>
                        </m:f>
                        <m:r>
                          <a:rPr lang="en-US" altLang="ko-KR" sz="1200" b="1" i="1" kern="0">
                            <a:latin typeface="Cambria Math" panose="02040503050406030204" pitchFamily="18" charset="0"/>
                            <a:ea typeface="+mj-ea"/>
                          </a:rPr>
                          <m:t>)</m:t>
                        </m:r>
                      </m:e>
                      <m:sup>
                        <m:r>
                          <a:rPr lang="en-US" altLang="ko-KR" sz="1200" b="1" i="1" kern="0">
                            <a:latin typeface="Cambria Math" panose="02040503050406030204" pitchFamily="18" charset="0"/>
                            <a:ea typeface="+mj-ea"/>
                          </a:rPr>
                          <m:t>𝟐</m:t>
                        </m:r>
                      </m:sup>
                    </m:sSup>
                  </m:oMath>
                </a14:m>
                <a:r>
                  <a:rPr lang="en-US" altLang="ko-KR" sz="1200" kern="0" dirty="0">
                    <a:latin typeface="+mj-ea"/>
                    <a:ea typeface="+mj-ea"/>
                    <a:cs typeface="Arial"/>
                  </a:rPr>
                  <a:t> } = </a:t>
                </a:r>
                <a:r>
                  <a:rPr lang="en-US" altLang="ko-KR" sz="1200" kern="0" dirty="0" smtClean="0">
                    <a:latin typeface="+mj-ea"/>
                    <a:ea typeface="+mj-ea"/>
                    <a:cs typeface="Arial"/>
                  </a:rPr>
                  <a:t>50% </a:t>
                </a:r>
                <a:endParaRPr lang="en-US" altLang="ko-KR" sz="1200" kern="0" dirty="0">
                  <a:latin typeface="+mj-ea"/>
                  <a:ea typeface="+mj-ea"/>
                  <a:cs typeface="Arial"/>
                </a:endParaRPr>
              </a:p>
            </p:txBody>
          </p:sp>
        </mc:Choice>
        <mc:Fallback xmlns="">
          <p:sp>
            <p:nvSpPr>
              <p:cNvPr id="42" name="직사각형 4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6722" y="5077271"/>
                <a:ext cx="2027340" cy="829843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5" name="직사각형 44"/>
          <p:cNvSpPr/>
          <p:nvPr/>
        </p:nvSpPr>
        <p:spPr>
          <a:xfrm>
            <a:off x="636722" y="5009737"/>
            <a:ext cx="2027340" cy="127506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 latinLnBrk="0">
              <a:lnSpc>
                <a:spcPct val="100000"/>
              </a:lnSpc>
            </a:pP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3158720" y="5010585"/>
            <a:ext cx="6333053" cy="127506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 latinLnBrk="0">
              <a:lnSpc>
                <a:spcPct val="100000"/>
              </a:lnSpc>
            </a:pPr>
            <a:endParaRPr lang="ko-KR" altLang="en-US" dirty="0">
              <a:latin typeface="+mj-ea"/>
              <a:ea typeface="+mj-ea"/>
            </a:endParaRPr>
          </a:p>
        </p:txBody>
      </p:sp>
      <p:sp>
        <p:nvSpPr>
          <p:cNvPr id="47" name="오른쪽 화살표 46"/>
          <p:cNvSpPr/>
          <p:nvPr/>
        </p:nvSpPr>
        <p:spPr>
          <a:xfrm>
            <a:off x="2733106" y="5379079"/>
            <a:ext cx="395926" cy="330177"/>
          </a:xfrm>
          <a:prstGeom prst="rightArrow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 latinLnBrk="0"/>
            <a:endParaRPr lang="ko-KR" altLang="en-US" dirty="0">
              <a:latin typeface="+mj-ea"/>
              <a:ea typeface="+mj-ea"/>
            </a:endParaRPr>
          </a:p>
        </p:txBody>
      </p:sp>
      <p:pic>
        <p:nvPicPr>
          <p:cNvPr id="48" name="그림 4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281" y="1209178"/>
            <a:ext cx="4797600" cy="3414275"/>
          </a:xfrm>
          <a:prstGeom prst="rect">
            <a:avLst/>
          </a:prstGeom>
        </p:spPr>
      </p:pic>
      <p:pic>
        <p:nvPicPr>
          <p:cNvPr id="49" name="그림 4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31659" y="1588939"/>
            <a:ext cx="3948235" cy="2399907"/>
          </a:xfrm>
          <a:prstGeom prst="rect">
            <a:avLst/>
          </a:prstGeom>
        </p:spPr>
      </p:pic>
      <p:sp>
        <p:nvSpPr>
          <p:cNvPr id="16" name="직사각형 15">
            <a:hlinkClick r:id="rId8" action="ppaction://hlinksldjump"/>
          </p:cNvPr>
          <p:cNvSpPr/>
          <p:nvPr/>
        </p:nvSpPr>
        <p:spPr>
          <a:xfrm>
            <a:off x="9023838" y="284285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smtClean="0">
                <a:solidFill>
                  <a:schemeClr val="tx1"/>
                </a:solidFill>
              </a:rPr>
              <a:t>돌아가기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305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[</a:t>
            </a:r>
            <a:r>
              <a:rPr lang="ko-KR" altLang="en-US" smtClean="0">
                <a:latin typeface="+mj-ea"/>
              </a:rPr>
              <a:t>참고</a:t>
            </a:r>
            <a:r>
              <a:rPr lang="en-US" altLang="ko-KR" dirty="0" smtClean="0">
                <a:latin typeface="+mj-ea"/>
              </a:rPr>
              <a:t>] </a:t>
            </a:r>
            <a:r>
              <a:rPr lang="ko-KR" altLang="en-US" smtClean="0">
                <a:latin typeface="+mj-ea"/>
              </a:rPr>
              <a:t>이진분류모델의 평가 </a:t>
            </a:r>
            <a:endParaRPr lang="en-US" altLang="ko-KR" dirty="0">
              <a:latin typeface="+mj-ea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250363" y="813098"/>
            <a:ext cx="4688660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이진분류모델은 </a:t>
            </a:r>
            <a:r>
              <a:rPr kumimoji="1" lang="ko-KR" altLang="en-US" sz="1400" b="1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오분류표를</a:t>
            </a: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작성하고 수치를 계산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85" name="직선 연결선 84"/>
          <p:cNvCxnSpPr/>
          <p:nvPr/>
        </p:nvCxnSpPr>
        <p:spPr>
          <a:xfrm>
            <a:off x="410534" y="1139022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graphicFrame>
        <p:nvGraphicFramePr>
          <p:cNvPr id="86" name="표 8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1346373"/>
              </p:ext>
            </p:extLst>
          </p:nvPr>
        </p:nvGraphicFramePr>
        <p:xfrm>
          <a:off x="298938" y="1238446"/>
          <a:ext cx="4404947" cy="906992"/>
        </p:xfrm>
        <a:graphic>
          <a:graphicData uri="http://schemas.openxmlformats.org/drawingml/2006/table">
            <a:tbl>
              <a:tblPr firstRow="1" bandRow="1"/>
              <a:tblGrid>
                <a:gridCol w="487389">
                  <a:extLst>
                    <a:ext uri="{9D8B030D-6E8A-4147-A177-3AD203B41FA5}">
                      <a16:colId xmlns:a16="http://schemas.microsoft.com/office/drawing/2014/main" val="1059447680"/>
                    </a:ext>
                  </a:extLst>
                </a:gridCol>
                <a:gridCol w="694160">
                  <a:extLst>
                    <a:ext uri="{9D8B030D-6E8A-4147-A177-3AD203B41FA5}">
                      <a16:colId xmlns:a16="http://schemas.microsoft.com/office/drawing/2014/main" val="2343695091"/>
                    </a:ext>
                  </a:extLst>
                </a:gridCol>
                <a:gridCol w="827363">
                  <a:extLst>
                    <a:ext uri="{9D8B030D-6E8A-4147-A177-3AD203B41FA5}">
                      <a16:colId xmlns:a16="http://schemas.microsoft.com/office/drawing/2014/main" val="3011929999"/>
                    </a:ext>
                  </a:extLst>
                </a:gridCol>
                <a:gridCol w="909252">
                  <a:extLst>
                    <a:ext uri="{9D8B030D-6E8A-4147-A177-3AD203B41FA5}">
                      <a16:colId xmlns:a16="http://schemas.microsoft.com/office/drawing/2014/main" val="916431264"/>
                    </a:ext>
                  </a:extLst>
                </a:gridCol>
                <a:gridCol w="14867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6743">
                <a:tc rowSpan="2" gridSpan="2"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b="1" dirty="0" smtClean="0">
                        <a:solidFill>
                          <a:prstClr val="black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 sz="11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예측</a:t>
                      </a:r>
                      <a:endParaRPr lang="ko-KR" altLang="en-US" sz="105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합계</a:t>
                      </a:r>
                      <a:endParaRPr lang="ko-KR" altLang="en-US" sz="1050" b="1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6398114"/>
                  </a:ext>
                </a:extLst>
              </a:tr>
              <a:tr h="149096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 sz="11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양품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불량품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latin typeface="돋움체" panose="020B0609000101010101" pitchFamily="49" charset="-127"/>
                        <a:ea typeface="돋움체" panose="020B0609000101010101" pitchFamily="49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6084152"/>
                  </a:ext>
                </a:extLst>
              </a:tr>
              <a:tr h="186743">
                <a:tc rowSpan="2"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실제</a:t>
                      </a:r>
                      <a:endParaRPr lang="ko-KR" altLang="en-US" sz="105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양품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P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algn="ctr" defTabSz="1219193" rtl="0" eaLnBrk="1" latinLnBrk="1" hangingPunct="1"/>
                      <a:r>
                        <a:rPr lang="en-US" altLang="ko-KR" sz="105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P</a:t>
                      </a:r>
                      <a:r>
                        <a:rPr lang="en-US" altLang="ko-KR" sz="1050" baseline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+ </a:t>
                      </a:r>
                      <a:r>
                        <a:rPr lang="en-US" altLang="ko-KR" sz="1050" b="0" kern="120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FN</a:t>
                      </a:r>
                      <a:endParaRPr lang="ko-KR" altLang="en-US" sz="1050" b="0" kern="12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3478330"/>
                  </a:ext>
                </a:extLst>
              </a:tr>
              <a:tr h="186743"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불량품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50" b="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P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50" b="0" kern="120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TN</a:t>
                      </a:r>
                      <a:endParaRPr lang="ko-KR" altLang="en-US" sz="1050" b="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50" b="0" kern="120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FP</a:t>
                      </a:r>
                      <a:r>
                        <a:rPr lang="en-US" altLang="ko-KR" sz="105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+ TN</a:t>
                      </a:r>
                      <a:endParaRPr lang="ko-KR" altLang="en-US" sz="105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7502261"/>
                  </a:ext>
                </a:extLst>
              </a:tr>
              <a:tr h="186743">
                <a:tc gridSpan="2"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계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latin typeface="돋움체" panose="020B0609000101010101" pitchFamily="49" charset="-127"/>
                        <a:ea typeface="돋움체" panose="020B0609000101010101" pitchFamily="49" charset="-127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5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P + </a:t>
                      </a:r>
                      <a:r>
                        <a:rPr lang="en-US" altLang="ko-KR" sz="1050" b="0" kern="120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FP</a:t>
                      </a:r>
                      <a:endParaRPr lang="ko-KR" altLang="en-US" sz="1050" b="0" kern="12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50" b="0" kern="120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FN</a:t>
                      </a:r>
                      <a:r>
                        <a:rPr lang="en-US" altLang="ko-KR" sz="105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+ TN</a:t>
                      </a:r>
                      <a:endParaRPr lang="ko-KR" altLang="en-US" sz="105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05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P + TN + </a:t>
                      </a:r>
                      <a:r>
                        <a:rPr lang="en-US" altLang="ko-KR" sz="1050" b="0" kern="120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FP</a:t>
                      </a:r>
                      <a:r>
                        <a:rPr lang="en-US" altLang="ko-KR" sz="1050" dirty="0" smtClean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+ </a:t>
                      </a:r>
                      <a:r>
                        <a:rPr lang="en-US" altLang="ko-KR" sz="1050" b="0" kern="1200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FN</a:t>
                      </a:r>
                      <a:endParaRPr lang="ko-KR" altLang="en-US" sz="1050" b="0" kern="1200" dirty="0">
                        <a:solidFill>
                          <a:srgbClr val="FF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7" name="표 8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696209297"/>
                  </p:ext>
                </p:extLst>
              </p:nvPr>
            </p:nvGraphicFramePr>
            <p:xfrm>
              <a:off x="332908" y="2578963"/>
              <a:ext cx="4395739" cy="3722921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256030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818319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  <a:gridCol w="1321390">
                      <a:extLst>
                        <a:ext uri="{9D8B030D-6E8A-4147-A177-3AD203B41FA5}">
                          <a16:colId xmlns:a16="http://schemas.microsoft.com/office/drawing/2014/main" val="20002"/>
                        </a:ext>
                      </a:extLst>
                    </a:gridCol>
                  </a:tblGrid>
                  <a:tr h="164826">
                    <a:tc>
                      <a:txBody>
                        <a:bodyPr/>
                        <a:lstStyle>
                          <a:lvl1pPr marL="0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1pPr>
                          <a:lvl2pPr marL="609597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2pPr>
                          <a:lvl3pPr marL="1219193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3pPr>
                          <a:lvl4pPr marL="1828789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4pPr>
                          <a:lvl5pPr marL="2438386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5pPr>
                          <a:lvl6pPr marL="3047983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6pPr>
                          <a:lvl7pPr marL="3657579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7pPr>
                          <a:lvl8pPr marL="4267175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8pPr>
                          <a:lvl9pPr marL="4876772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9pPr>
                        </a:lstStyle>
                        <a:p>
                          <a:pPr algn="ctr"/>
                          <a:r>
                            <a:rPr lang="ko-KR" altLang="en-US" sz="105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</a:rPr>
                            <a:t>지표</a:t>
                          </a:r>
                          <a:endParaRPr lang="en-US" sz="1050" dirty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105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</a:rPr>
                            <a:t>정의</a:t>
                          </a:r>
                          <a:endParaRPr lang="en-US" sz="1050" b="1" kern="1200" dirty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105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</a:rPr>
                            <a:t>수식</a:t>
                          </a:r>
                          <a:endParaRPr lang="en-US" sz="1050" b="1" kern="1200" dirty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49592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850" b="1" i="0" kern="1200" dirty="0" smtClean="0">
                              <a:latin typeface="+mn-ea"/>
                              <a:ea typeface="+mn-ea"/>
                            </a:rPr>
                            <a:t>정확도</a:t>
                          </a:r>
                          <a:endParaRPr lang="en-US" altLang="ko-KR" sz="850" b="1" i="0" kern="1200" dirty="0" smtClean="0">
                            <a:latin typeface="+mn-ea"/>
                            <a:ea typeface="+mn-ea"/>
                          </a:endParaRPr>
                        </a:p>
                        <a:p>
                          <a:pPr algn="ctr"/>
                          <a:r>
                            <a:rPr lang="en-US" altLang="ko-KR" sz="850" b="1" i="0" kern="1200" dirty="0" smtClean="0">
                              <a:latin typeface="+mn-ea"/>
                              <a:ea typeface="+mn-ea"/>
                            </a:rPr>
                            <a:t>(Accuracy)</a:t>
                          </a:r>
                          <a:endParaRPr lang="en-US" altLang="ko-KR" sz="850" b="1" i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ko-KR" altLang="en-US" sz="850" kern="1200" dirty="0" smtClean="0">
                              <a:latin typeface="+mn-ea"/>
                              <a:ea typeface="+mn-ea"/>
                            </a:rPr>
                            <a:t>전체 中 </a:t>
                          </a:r>
                          <a:r>
                            <a:rPr lang="ko-KR" altLang="en-US" sz="850" kern="1200" dirty="0" err="1" smtClean="0">
                              <a:latin typeface="+mn-ea"/>
                              <a:ea typeface="+mn-ea"/>
                            </a:rPr>
                            <a:t>양불을</a:t>
                          </a:r>
                          <a:r>
                            <a:rPr lang="ko-KR" altLang="en-US" sz="850" kern="1200" dirty="0" smtClean="0">
                              <a:latin typeface="+mn-ea"/>
                              <a:ea typeface="+mn-ea"/>
                            </a:rPr>
                            <a:t> </a:t>
                          </a:r>
                          <a:r>
                            <a:rPr lang="ko-KR" altLang="en-US" sz="850" kern="1200" baseline="0" dirty="0" smtClean="0">
                              <a:latin typeface="+mn-ea"/>
                              <a:ea typeface="+mn-ea"/>
                            </a:rPr>
                            <a:t>정확히 </a:t>
                          </a:r>
                          <a:endParaRPr lang="en-US" altLang="ko-KR" sz="850" kern="1200" baseline="0" dirty="0" smtClean="0">
                            <a:latin typeface="+mn-ea"/>
                            <a:ea typeface="+mn-ea"/>
                          </a:endParaRPr>
                        </a:p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ko-KR" altLang="en-US" sz="850" kern="1200" baseline="0" dirty="0" smtClean="0">
                              <a:latin typeface="+mn-ea"/>
                              <a:ea typeface="+mn-ea"/>
                            </a:rPr>
                            <a:t>분류한 비율</a:t>
                          </a:r>
                          <a:endParaRPr lang="en-US" altLang="ko-KR" sz="850" b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49592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850" b="1" i="0" kern="1200" dirty="0" smtClean="0">
                              <a:latin typeface="+mn-ea"/>
                              <a:ea typeface="+mn-ea"/>
                            </a:rPr>
                            <a:t>정밀도</a:t>
                          </a:r>
                          <a:endParaRPr lang="en-US" altLang="ko-KR" sz="850" b="1" i="0" kern="1200" dirty="0" smtClean="0">
                            <a:latin typeface="+mn-ea"/>
                            <a:ea typeface="+mn-ea"/>
                          </a:endParaRPr>
                        </a:p>
                        <a:p>
                          <a:pPr algn="ctr"/>
                          <a:r>
                            <a:rPr lang="en-US" altLang="ko-KR" sz="850" b="1" i="0" kern="1200" dirty="0" smtClean="0">
                              <a:latin typeface="+mn-ea"/>
                              <a:ea typeface="+mn-ea"/>
                            </a:rPr>
                            <a:t>(Precision)</a:t>
                          </a:r>
                          <a:endParaRPr lang="en-US" altLang="ko-KR" sz="850" b="1" i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ko-KR" altLang="en-US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양품이라 예측한 </a:t>
                          </a:r>
                          <a:r>
                            <a:rPr lang="en-US" altLang="ko-KR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(</a:t>
                          </a:r>
                          <a14:m>
                            <m:oMath xmlns:m="http://schemas.openxmlformats.org/officeDocument/2006/math">
                              <m:r>
                                <a:rPr lang="en-US" altLang="ko-KR" sz="850" i="1" kern="0" smtClean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𝑇𝑃</m:t>
                              </m:r>
                              <m:r>
                                <a:rPr lang="en-US" altLang="ko-KR" sz="850" b="0" i="1" kern="0" smtClean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+</m:t>
                              </m:r>
                              <m:r>
                                <a:rPr lang="en-US" altLang="ko-KR" sz="850" b="0" i="1" kern="0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𝐹𝑃</m:t>
                              </m:r>
                              <m:r>
                                <a:rPr lang="en-US" altLang="ko-KR" sz="850" b="0" i="1" kern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)</m:t>
                              </m:r>
                            </m:oMath>
                          </a14:m>
                          <a:r>
                            <a:rPr lang="ko-KR" altLang="en-US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 개</a:t>
                          </a:r>
                          <a:r>
                            <a:rPr lang="ko-KR" altLang="en-US" sz="850" b="0" kern="1200" baseline="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 中</a:t>
                          </a:r>
                          <a:r>
                            <a:rPr lang="ko-KR" altLang="en-US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en-US" altLang="ko-KR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/>
                          </a:r>
                          <a:br>
                            <a:rPr lang="en-US" altLang="ko-KR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</a:br>
                          <a:r>
                            <a:rPr lang="ko-KR" altLang="en-US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실제 양품 비율</a:t>
                          </a:r>
                          <a:endParaRPr lang="en-US" altLang="ko-KR" sz="850" b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  <a:tr h="49592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850" b="1" i="0" kern="1200" dirty="0" err="1" smtClean="0">
                              <a:latin typeface="+mn-ea"/>
                              <a:ea typeface="+mn-ea"/>
                            </a:rPr>
                            <a:t>재현율</a:t>
                          </a:r>
                          <a:endParaRPr lang="en-US" altLang="ko-KR" sz="850" b="1" i="0" kern="1200" dirty="0" smtClean="0">
                            <a:latin typeface="+mn-ea"/>
                            <a:ea typeface="+mn-ea"/>
                          </a:endParaRPr>
                        </a:p>
                        <a:p>
                          <a:pPr algn="ctr"/>
                          <a:r>
                            <a:rPr lang="en-US" altLang="ko-KR" sz="850" b="1" i="0" kern="1200" dirty="0" smtClean="0">
                              <a:latin typeface="+mn-ea"/>
                              <a:ea typeface="+mn-ea"/>
                            </a:rPr>
                            <a:t>(Recall)</a:t>
                          </a:r>
                          <a:endParaRPr lang="en-US" altLang="ko-KR" sz="850" b="1" i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ko-KR" altLang="en-US" sz="850" kern="1200" dirty="0" smtClean="0">
                              <a:latin typeface="+mn-ea"/>
                              <a:ea typeface="+mn-ea"/>
                            </a:rPr>
                            <a:t>실제 양품 </a:t>
                          </a:r>
                          <a:r>
                            <a:rPr lang="en-US" altLang="ko-KR" sz="850" kern="1200" dirty="0" smtClean="0">
                              <a:latin typeface="+mn-ea"/>
                              <a:ea typeface="+mn-ea"/>
                            </a:rPr>
                            <a:t>(</a:t>
                          </a:r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n-US" altLang="ko-KR" sz="850" b="0" i="0" kern="0" smtClean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  <a:sym typeface="Wingdings" panose="05000000000000000000" pitchFamily="2" charset="2"/>
                                </a:rPr>
                                <m:t>T</m:t>
                              </m:r>
                              <m:r>
                                <a:rPr lang="en-US" altLang="ko-KR" sz="850" b="0" i="1" kern="0" smtClean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  <a:sym typeface="Wingdings" panose="05000000000000000000" pitchFamily="2" charset="2"/>
                                </a:rPr>
                                <m:t>𝑃</m:t>
                              </m:r>
                              <m:r>
                                <a:rPr lang="en-US" altLang="ko-KR" sz="850" b="0" i="1" kern="0" smtClean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+</m:t>
                              </m:r>
                              <m:r>
                                <a:rPr lang="en-US" altLang="ko-KR" sz="850" b="0" i="1" kern="0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𝐹𝑁</m:t>
                              </m:r>
                            </m:oMath>
                          </a14:m>
                          <a:r>
                            <a:rPr lang="en-US" altLang="ko-KR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) </a:t>
                          </a:r>
                          <a:r>
                            <a:rPr lang="ko-KR" altLang="en-US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개 中</a:t>
                          </a:r>
                          <a:endParaRPr lang="en-US" altLang="ko-KR" sz="850" b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ko-KR" altLang="en-US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양품으로 예측한 비율</a:t>
                          </a:r>
                          <a:endParaRPr lang="en-US" altLang="ko-KR" sz="850" b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3"/>
                      </a:ext>
                    </a:extLst>
                  </a:tr>
                  <a:tr h="49592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850" b="1" i="0" kern="1200" dirty="0" err="1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미검율</a:t>
                          </a:r>
                          <a:endParaRPr lang="en-US" altLang="ko-KR" sz="850" b="1" i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  <a:p>
                          <a:pPr algn="ctr"/>
                          <a:r>
                            <a:rPr lang="en-US" altLang="ko-KR" sz="850" b="1" i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(False</a:t>
                          </a:r>
                          <a:r>
                            <a:rPr lang="en-US" altLang="ko-KR" sz="850" b="1" i="0" kern="1200" baseline="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en-US" altLang="ko-KR" sz="850" b="1" i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Positive Rate)</a:t>
                          </a: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ko-KR" altLang="en-US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실제 불량품 </a:t>
                          </a:r>
                          <a:r>
                            <a:rPr lang="en-US" altLang="ko-KR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(</a:t>
                          </a:r>
                          <a14:m>
                            <m:oMath xmlns:m="http://schemas.openxmlformats.org/officeDocument/2006/math">
                              <m:r>
                                <a:rPr lang="en-US" altLang="ko-KR" sz="850" i="1" kern="0" smtClean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𝑇</m:t>
                              </m:r>
                              <m:r>
                                <a:rPr lang="en-US" altLang="ko-KR" sz="850" b="0" i="1" kern="0" smtClean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𝑁</m:t>
                              </m:r>
                              <m:r>
                                <a:rPr lang="en-US" altLang="ko-KR" sz="850" b="0" i="1" kern="0" smtClean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+</m:t>
                              </m:r>
                              <m:r>
                                <a:rPr lang="en-US" altLang="ko-KR" sz="850" b="0" i="1" kern="0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𝐹𝑃</m:t>
                              </m:r>
                              <m:r>
                                <a:rPr lang="en-US" altLang="ko-KR" sz="850" b="0" i="1" kern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)</m:t>
                              </m:r>
                            </m:oMath>
                          </a14:m>
                          <a:r>
                            <a:rPr lang="ko-KR" altLang="en-US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ko-KR" altLang="en-US" sz="850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개 中 </a:t>
                          </a:r>
                          <a:endParaRPr lang="en-US" altLang="ko-KR" sz="850" kern="1200" dirty="0" smtClean="0">
                            <a:solidFill>
                              <a:schemeClr val="tx1"/>
                            </a:solidFill>
                            <a:latin typeface="맑은 고딕" panose="020B0503020000020004" pitchFamily="50" charset="-127"/>
                            <a:ea typeface="+mn-ea"/>
                            <a:cs typeface="+mn-cs"/>
                          </a:endParaRPr>
                        </a:p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ko-KR" altLang="en-US" sz="850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불량 </a:t>
                          </a:r>
                          <a14:m>
                            <m:oMath xmlns:m="http://schemas.openxmlformats.org/officeDocument/2006/math">
                              <m:r>
                                <a:rPr lang="en-US" altLang="ko-KR" sz="850" b="0" i="1" kern="0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𝐹𝑃</m:t>
                              </m:r>
                            </m:oMath>
                          </a14:m>
                          <a:r>
                            <a:rPr lang="ko-KR" altLang="en-US" sz="850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개를 못 걸러낸 </a:t>
                          </a:r>
                          <a:r>
                            <a:rPr lang="ko-KR" altLang="en-US" sz="850" kern="120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비율</a:t>
                          </a:r>
                          <a:r>
                            <a:rPr lang="en-US" altLang="ko-KR" sz="850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 </a:t>
                          </a:r>
                        </a:p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altLang="ko-KR" sz="850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= 1-</a:t>
                          </a:r>
                          <a:r>
                            <a:rPr lang="ko-KR" altLang="en-US" sz="850" kern="120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특이도</a:t>
                          </a:r>
                          <a:endParaRPr lang="en-US" altLang="ko-KR" sz="850" kern="1200" dirty="0" smtClean="0">
                            <a:solidFill>
                              <a:schemeClr val="tx1"/>
                            </a:solidFill>
                            <a:latin typeface="맑은 고딕" panose="020B0503020000020004" pitchFamily="50" charset="-127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4"/>
                      </a:ext>
                    </a:extLst>
                  </a:tr>
                  <a:tr h="49592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850" b="1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특이도</a:t>
                          </a: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맑은 고딕" panose="020B0503020000020004" pitchFamily="50" charset="-127"/>
                            <a:ea typeface="+mn-ea"/>
                            <a:cs typeface="+mn-cs"/>
                          </a:endParaRPr>
                        </a:p>
                        <a:p>
                          <a:pPr algn="ctr"/>
                          <a:r>
                            <a:rPr lang="en-US" altLang="ko-KR" sz="850" b="1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(Specificity)</a:t>
                          </a:r>
                          <a:endParaRPr lang="en-US" altLang="ko-KR" sz="850" b="1" i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ko-KR" altLang="en-US" sz="850" b="0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실제 불량품 </a:t>
                          </a:r>
                          <a:r>
                            <a:rPr lang="en-US" altLang="ko-KR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(</a:t>
                          </a:r>
                          <a14:m>
                            <m:oMath xmlns:m="http://schemas.openxmlformats.org/officeDocument/2006/math">
                              <m:r>
                                <a:rPr lang="en-US" altLang="ko-KR" sz="850" b="0" i="1" kern="0" smtClean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  <a:sym typeface="Wingdings" panose="05000000000000000000" pitchFamily="2" charset="2"/>
                                </a:rPr>
                                <m:t>𝑇𝑁</m:t>
                              </m:r>
                              <m:r>
                                <a:rPr lang="en-US" altLang="ko-KR" sz="850" b="0" i="1" kern="0" smtClean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+</m:t>
                              </m:r>
                              <m:r>
                                <a:rPr lang="en-US" altLang="ko-KR" sz="850" b="0" i="1" kern="0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𝐹𝑃</m:t>
                              </m:r>
                              <m:r>
                                <a:rPr lang="en-US" altLang="ko-KR" sz="850" b="0" i="1" kern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)</m:t>
                              </m:r>
                            </m:oMath>
                          </a14:m>
                          <a:r>
                            <a:rPr lang="ko-KR" altLang="en-US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 개 中</a:t>
                          </a:r>
                          <a:endParaRPr lang="en-US" altLang="ko-KR" sz="850" b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ko-KR" altLang="en-US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불량으로 예측한 비율</a:t>
                          </a:r>
                          <a:endParaRPr lang="en-US" altLang="ko-KR" sz="850" b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altLang="ko-KR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= 1-</a:t>
                          </a:r>
                          <a:r>
                            <a:rPr lang="ko-KR" altLang="en-US" sz="850" b="0" kern="120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미검율</a:t>
                          </a:r>
                          <a:endParaRPr lang="ko-KR" altLang="en-US" sz="850" kern="1200" dirty="0" smtClean="0">
                            <a:solidFill>
                              <a:schemeClr val="tx1"/>
                            </a:solidFill>
                            <a:latin typeface="맑은 고딕" panose="020B0503020000020004" pitchFamily="50" charset="-127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5"/>
                      </a:ext>
                    </a:extLst>
                  </a:tr>
                  <a:tr h="49592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850" b="1" i="0" kern="1200" dirty="0" err="1" smtClean="0">
                              <a:latin typeface="+mn-ea"/>
                              <a:ea typeface="+mn-ea"/>
                            </a:rPr>
                            <a:t>과검율</a:t>
                          </a:r>
                          <a:endParaRPr lang="en-US" altLang="ko-KR" sz="850" b="1" i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ko-KR" altLang="en-US" sz="850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불량이라 예측한 </a:t>
                          </a:r>
                          <a:r>
                            <a:rPr lang="en-US" altLang="ko-KR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(</a:t>
                          </a:r>
                          <a14:m>
                            <m:oMath xmlns:m="http://schemas.openxmlformats.org/officeDocument/2006/math">
                              <m:r>
                                <a:rPr lang="en-US" altLang="ko-KR" sz="850" b="0" i="1" kern="0" smtClean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  <a:sym typeface="Wingdings" panose="05000000000000000000" pitchFamily="2" charset="2"/>
                                </a:rPr>
                                <m:t>𝑇𝑁</m:t>
                              </m:r>
                              <m:r>
                                <a:rPr lang="en-US" altLang="ko-KR" sz="850" b="0" i="1" kern="0" smtClean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+</m:t>
                              </m:r>
                              <m:r>
                                <a:rPr lang="en-US" altLang="ko-KR" sz="850" b="0" i="1" kern="0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𝐹𝑁</m:t>
                              </m:r>
                              <m:r>
                                <a:rPr lang="en-US" altLang="ko-KR" sz="850" b="0" i="1" kern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)</m:t>
                              </m:r>
                            </m:oMath>
                          </a14:m>
                          <a:r>
                            <a:rPr lang="ko-KR" altLang="en-US" sz="850" b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ko-KR" altLang="en-US" sz="850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개</a:t>
                          </a:r>
                          <a:r>
                            <a:rPr lang="en-US" altLang="ko-KR" sz="850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ko-KR" altLang="en-US" sz="850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中 양품 </a:t>
                          </a:r>
                          <a:r>
                            <a:rPr lang="en-US" altLang="ko-KR" sz="850" i="1" kern="1200" dirty="0" smtClean="0">
                              <a:solidFill>
                                <a:srgbClr val="FF0000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FN </a:t>
                          </a:r>
                          <a:r>
                            <a:rPr lang="ko-KR" altLang="en-US" sz="850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개를 잘못 분류한 비율</a:t>
                          </a:r>
                          <a:endParaRPr lang="en-US" altLang="ko-KR" sz="850" kern="1200" dirty="0" smtClean="0">
                            <a:solidFill>
                              <a:schemeClr val="tx1"/>
                            </a:solidFill>
                            <a:latin typeface="맑은 고딕" panose="020B0503020000020004" pitchFamily="50" charset="-127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6"/>
                      </a:ext>
                    </a:extLst>
                  </a:tr>
                  <a:tr h="495923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altLang="ko-KR" sz="850" b="1" i="1" kern="1200" smtClean="0">
                                        <a:latin typeface="Cambria Math" panose="02040503050406030204" pitchFamily="18" charset="0"/>
                                        <a:ea typeface="+mn-ea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altLang="ko-KR" sz="850" b="1" i="0" kern="1200" smtClean="0">
                                        <a:latin typeface="Cambria Math" panose="02040503050406030204" pitchFamily="18" charset="0"/>
                                        <a:ea typeface="+mn-ea"/>
                                      </a:rPr>
                                      <m:t>𝐅</m:t>
                                    </m:r>
                                  </m:e>
                                  <m:sub>
                                    <m:r>
                                      <a:rPr lang="en-US" altLang="ko-KR" sz="850" b="1" i="0" kern="1200" smtClean="0">
                                        <a:latin typeface="Cambria Math" panose="02040503050406030204" pitchFamily="18" charset="0"/>
                                        <a:ea typeface="+mn-ea"/>
                                      </a:rPr>
                                      <m:t>𝟏</m:t>
                                    </m:r>
                                  </m:sub>
                                </m:sSub>
                                <m:r>
                                  <a:rPr lang="en-US" altLang="ko-KR" sz="850" b="1" i="0" kern="1200" smtClean="0">
                                    <a:latin typeface="Cambria Math" panose="02040503050406030204" pitchFamily="18" charset="0"/>
                                    <a:ea typeface="+mn-ea"/>
                                  </a:rPr>
                                  <m:t>−</m:t>
                                </m:r>
                                <m:r>
                                  <a:rPr lang="en-US" altLang="ko-KR" sz="850" b="1" i="0" kern="1200" smtClean="0">
                                    <a:latin typeface="Cambria Math" panose="02040503050406030204" pitchFamily="18" charset="0"/>
                                    <a:ea typeface="+mn-ea"/>
                                  </a:rPr>
                                  <m:t>𝐒𝐜𝐨𝐫𝐞</m:t>
                                </m:r>
                              </m:oMath>
                            </m:oMathPara>
                          </a14:m>
                          <a:endParaRPr lang="en-US" altLang="ko-KR" sz="850" b="1" i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a:rPr lang="en-US" altLang="ko-KR" sz="850" kern="1200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  <a:sym typeface="Wingdings" panose="05000000000000000000" pitchFamily="2" charset="2"/>
                                </a:rPr>
                                <m:t>𝑃𝑟𝑒𝑐𝑖𝑠𝑖𝑜𝑛</m:t>
                              </m:r>
                              <m:r>
                                <a:rPr lang="ko-KR" altLang="en-US" sz="850" kern="1200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  <a:sym typeface="Wingdings" panose="05000000000000000000" pitchFamily="2" charset="2"/>
                                </a:rPr>
                                <m:t>과</m:t>
                              </m:r>
                              <m:r>
                                <a:rPr lang="ko-KR" altLang="en-US" sz="850" kern="1200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  <a:sym typeface="Wingdings" panose="05000000000000000000" pitchFamily="2" charset="2"/>
                                </a:rPr>
                                <m:t> </m:t>
                              </m:r>
                              <m:r>
                                <a:rPr lang="en-US" altLang="ko-KR" sz="850" kern="1200" smtClean="0">
                                  <a:solidFill>
                                    <a:schemeClr val="dk1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  <a:sym typeface="Wingdings" panose="05000000000000000000" pitchFamily="2" charset="2"/>
                                </a:rPr>
                                <m:t>𝑅𝑒𝑐𝑎𝑙𝑙</m:t>
                              </m:r>
                            </m:oMath>
                          </a14:m>
                          <a:r>
                            <a:rPr lang="ko-KR" altLang="en-US" sz="850" dirty="0" smtClean="0"/>
                            <a:t>의 조화평균</a:t>
                          </a:r>
                          <a:endParaRPr sz="850" dirty="0"/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altLang="ko-KR" sz="850" b="0" i="1" kern="0" smtClean="0">
                                    <a:solidFill>
                                      <a:prstClr val="black"/>
                                    </a:solidFill>
                                    <a:latin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2 ∗ </m:t>
                                </m:r>
                                <m:f>
                                  <m:fPr>
                                    <m:ctrlPr>
                                      <a:rPr lang="en-US" altLang="ko-KR" sz="850" i="1" kern="0" smtClean="0">
                                        <a:solidFill>
                                          <a:prstClr val="black"/>
                                        </a:solidFill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altLang="ko-KR" sz="850" b="0" i="1" kern="0" smtClean="0">
                                        <a:solidFill>
                                          <a:prstClr val="black"/>
                                        </a:solidFill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  <m:t>𝑃𝑟𝑒𝑐𝑖𝑠𝑖𝑜𝑛</m:t>
                                    </m:r>
                                    <m:r>
                                      <a:rPr lang="en-US" altLang="ko-KR" sz="850" b="0" i="1" kern="0" smtClean="0">
                                        <a:solidFill>
                                          <a:prstClr val="black"/>
                                        </a:solidFill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  <m:t>∗</m:t>
                                    </m:r>
                                    <m:r>
                                      <a:rPr lang="en-US" altLang="ko-KR" sz="850" b="0" i="1" kern="0" smtClean="0">
                                        <a:solidFill>
                                          <a:prstClr val="black"/>
                                        </a:solidFill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  <m:t>𝑅𝑒𝑐𝑎𝑙𝑙</m:t>
                                    </m:r>
                                  </m:num>
                                  <m:den>
                                    <m:r>
                                      <a:rPr lang="en-US" altLang="ko-KR" sz="850" b="0" i="1" kern="0" smtClean="0">
                                        <a:solidFill>
                                          <a:prstClr val="black"/>
                                        </a:solidFill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  <m:t>𝑃𝑟𝑒𝑐𝑖𝑠𝑖𝑜𝑛</m:t>
                                    </m:r>
                                    <m:r>
                                      <a:rPr lang="en-US" altLang="ko-KR" sz="850" b="0" i="1" kern="0" smtClean="0">
                                        <a:solidFill>
                                          <a:prstClr val="black"/>
                                        </a:solidFill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  <m:t>+</m:t>
                                    </m:r>
                                    <m:r>
                                      <a:rPr lang="en-US" altLang="ko-KR" sz="850" b="0" i="1" kern="0" smtClean="0">
                                        <a:solidFill>
                                          <a:prstClr val="black"/>
                                        </a:solidFill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  <m:t>𝑅𝑒𝑐𝑎𝑙𝑙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7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7" name="표 8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696209297"/>
                  </p:ext>
                </p:extLst>
              </p:nvPr>
            </p:nvGraphicFramePr>
            <p:xfrm>
              <a:off x="332908" y="2578963"/>
              <a:ext cx="4395739" cy="3722921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256030"/>
                    <a:gridCol w="1818319"/>
                    <a:gridCol w="1321390"/>
                  </a:tblGrid>
                  <a:tr h="251460">
                    <a:tc>
                      <a:txBody>
                        <a:bodyPr/>
                        <a:lstStyle>
                          <a:lvl1pPr marL="0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1pPr>
                          <a:lvl2pPr marL="609597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2pPr>
                          <a:lvl3pPr marL="1219193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3pPr>
                          <a:lvl4pPr marL="1828789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4pPr>
                          <a:lvl5pPr marL="2438386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5pPr>
                          <a:lvl6pPr marL="3047983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6pPr>
                          <a:lvl7pPr marL="3657579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7pPr>
                          <a:lvl8pPr marL="4267175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8pPr>
                          <a:lvl9pPr marL="4876772" algn="l" defTabSz="1219193" rtl="0" eaLnBrk="1" latinLnBrk="1" hangingPunct="1">
                            <a:defRPr sz="2400" b="1" kern="1200">
                              <a:solidFill>
                                <a:schemeClr val="lt1"/>
                              </a:solidFill>
                              <a:latin typeface="Arial"/>
                              <a:ea typeface="맑은 고딕"/>
                            </a:defRPr>
                          </a:lvl9pPr>
                        </a:lstStyle>
                        <a:p>
                          <a:pPr algn="ctr"/>
                          <a:r>
                            <a:rPr lang="ko-KR" altLang="en-US" sz="105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</a:rPr>
                            <a:t>지표</a:t>
                          </a:r>
                          <a:endParaRPr lang="en-US" sz="1050" dirty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105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</a:rPr>
                            <a:t>정의</a:t>
                          </a:r>
                          <a:endParaRPr lang="en-US" sz="1050" b="1" kern="1200" dirty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105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</a:rPr>
                            <a:t>수식</a:t>
                          </a:r>
                          <a:endParaRPr lang="en-US" sz="1050" b="1" kern="1200" dirty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</a:tr>
                  <a:tr h="49592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850" b="1" i="0" kern="1200" dirty="0" smtClean="0">
                              <a:latin typeface="+mn-ea"/>
                              <a:ea typeface="+mn-ea"/>
                            </a:rPr>
                            <a:t>정확도</a:t>
                          </a:r>
                          <a:endParaRPr lang="en-US" altLang="ko-KR" sz="850" b="1" i="0" kern="1200" dirty="0" smtClean="0">
                            <a:latin typeface="+mn-ea"/>
                            <a:ea typeface="+mn-ea"/>
                          </a:endParaRPr>
                        </a:p>
                        <a:p>
                          <a:pPr algn="ctr"/>
                          <a:r>
                            <a:rPr lang="en-US" altLang="ko-KR" sz="850" b="1" i="0" kern="1200" dirty="0" smtClean="0">
                              <a:latin typeface="+mn-ea"/>
                              <a:ea typeface="+mn-ea"/>
                            </a:rPr>
                            <a:t>(Accuracy)</a:t>
                          </a:r>
                          <a:endParaRPr lang="en-US" altLang="ko-KR" sz="850" b="1" i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ko-KR" altLang="en-US" sz="850" kern="1200" dirty="0" smtClean="0">
                              <a:latin typeface="+mn-ea"/>
                              <a:ea typeface="+mn-ea"/>
                            </a:rPr>
                            <a:t>전체 中 </a:t>
                          </a:r>
                          <a:r>
                            <a:rPr lang="ko-KR" altLang="en-US" sz="850" kern="1200" dirty="0" err="1" smtClean="0">
                              <a:latin typeface="+mn-ea"/>
                              <a:ea typeface="+mn-ea"/>
                            </a:rPr>
                            <a:t>양불을</a:t>
                          </a:r>
                          <a:r>
                            <a:rPr lang="ko-KR" altLang="en-US" sz="850" kern="1200" dirty="0" smtClean="0">
                              <a:latin typeface="+mn-ea"/>
                              <a:ea typeface="+mn-ea"/>
                            </a:rPr>
                            <a:t> </a:t>
                          </a:r>
                          <a:r>
                            <a:rPr lang="ko-KR" altLang="en-US" sz="850" kern="1200" baseline="0" dirty="0" smtClean="0">
                              <a:latin typeface="+mn-ea"/>
                              <a:ea typeface="+mn-ea"/>
                            </a:rPr>
                            <a:t>정확히 </a:t>
                          </a:r>
                          <a:endParaRPr lang="en-US" altLang="ko-KR" sz="850" kern="1200" baseline="0" dirty="0" smtClean="0">
                            <a:latin typeface="+mn-ea"/>
                            <a:ea typeface="+mn-ea"/>
                          </a:endParaRPr>
                        </a:p>
                        <a:p>
                          <a:pPr marL="0" marR="0" lvl="0" indent="0" algn="l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ko-KR" altLang="en-US" sz="850" kern="1200" baseline="0" dirty="0" smtClean="0">
                              <a:latin typeface="+mn-ea"/>
                              <a:ea typeface="+mn-ea"/>
                            </a:rPr>
                            <a:t>분류한 비율</a:t>
                          </a:r>
                          <a:endParaRPr lang="en-US" altLang="ko-KR" sz="850" b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</a:tr>
                  <a:tr h="49592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850" b="1" i="0" kern="1200" dirty="0" smtClean="0">
                              <a:latin typeface="+mn-ea"/>
                              <a:ea typeface="+mn-ea"/>
                            </a:rPr>
                            <a:t>정밀도</a:t>
                          </a:r>
                          <a:endParaRPr lang="en-US" altLang="ko-KR" sz="850" b="1" i="0" kern="1200" dirty="0" smtClean="0">
                            <a:latin typeface="+mn-ea"/>
                            <a:ea typeface="+mn-ea"/>
                          </a:endParaRPr>
                        </a:p>
                        <a:p>
                          <a:pPr algn="ctr"/>
                          <a:r>
                            <a:rPr lang="en-US" altLang="ko-KR" sz="850" b="1" i="0" kern="1200" dirty="0" smtClean="0">
                              <a:latin typeface="+mn-ea"/>
                              <a:ea typeface="+mn-ea"/>
                            </a:rPr>
                            <a:t>(Precision)</a:t>
                          </a:r>
                          <a:endParaRPr lang="en-US" altLang="ko-KR" sz="850" b="1" i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 rotWithShape="0">
                          <a:blip r:embed="rId2"/>
                          <a:stretch>
                            <a:fillRect l="-68896" t="-153086" r="-72910" b="-5037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</a:tr>
                  <a:tr h="49592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850" b="1" i="0" kern="1200" dirty="0" err="1" smtClean="0">
                              <a:latin typeface="+mn-ea"/>
                              <a:ea typeface="+mn-ea"/>
                            </a:rPr>
                            <a:t>재현율</a:t>
                          </a:r>
                          <a:endParaRPr lang="en-US" altLang="ko-KR" sz="850" b="1" i="0" kern="1200" dirty="0" smtClean="0">
                            <a:latin typeface="+mn-ea"/>
                            <a:ea typeface="+mn-ea"/>
                          </a:endParaRPr>
                        </a:p>
                        <a:p>
                          <a:pPr algn="ctr"/>
                          <a:r>
                            <a:rPr lang="en-US" altLang="ko-KR" sz="850" b="1" i="0" kern="1200" dirty="0" smtClean="0">
                              <a:latin typeface="+mn-ea"/>
                              <a:ea typeface="+mn-ea"/>
                            </a:rPr>
                            <a:t>(Recall)</a:t>
                          </a:r>
                          <a:endParaRPr lang="en-US" altLang="ko-KR" sz="850" b="1" i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 rotWithShape="0">
                          <a:blip r:embed="rId2"/>
                          <a:stretch>
                            <a:fillRect l="-68896" t="-253086" r="-72910" b="-4037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</a:tr>
                  <a:tr h="49592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850" b="1" i="0" kern="1200" dirty="0" err="1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미검율</a:t>
                          </a:r>
                          <a:endParaRPr lang="en-US" altLang="ko-KR" sz="850" b="1" i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  <a:p>
                          <a:pPr algn="ctr"/>
                          <a:r>
                            <a:rPr lang="en-US" altLang="ko-KR" sz="850" b="1" i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(False</a:t>
                          </a:r>
                          <a:r>
                            <a:rPr lang="en-US" altLang="ko-KR" sz="850" b="1" i="0" kern="1200" baseline="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en-US" altLang="ko-KR" sz="850" b="1" i="0" kern="1200" dirty="0" smtClean="0">
                              <a:solidFill>
                                <a:schemeClr val="tx1"/>
                              </a:solidFill>
                              <a:latin typeface="+mn-ea"/>
                              <a:ea typeface="+mn-ea"/>
                              <a:cs typeface="+mn-cs"/>
                            </a:rPr>
                            <a:t>Positive Rate)</a:t>
                          </a: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 rotWithShape="0">
                          <a:blip r:embed="rId2"/>
                          <a:stretch>
                            <a:fillRect l="-68896" t="-348780" r="-72910" b="-29878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</a:tr>
                  <a:tr h="49592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850" b="1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특이도</a:t>
                          </a: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맑은 고딕" panose="020B0503020000020004" pitchFamily="50" charset="-127"/>
                            <a:ea typeface="+mn-ea"/>
                            <a:cs typeface="+mn-cs"/>
                          </a:endParaRPr>
                        </a:p>
                        <a:p>
                          <a:pPr algn="ctr"/>
                          <a:r>
                            <a:rPr lang="en-US" altLang="ko-KR" sz="850" b="1" kern="1200" dirty="0" smtClean="0">
                              <a:solidFill>
                                <a:schemeClr val="tx1"/>
                              </a:solidFill>
                              <a:latin typeface="맑은 고딕" panose="020B0503020000020004" pitchFamily="50" charset="-127"/>
                              <a:ea typeface="+mn-ea"/>
                              <a:cs typeface="+mn-cs"/>
                            </a:rPr>
                            <a:t>(Specificity)</a:t>
                          </a:r>
                          <a:endParaRPr lang="en-US" altLang="ko-KR" sz="850" b="1" i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 rotWithShape="0">
                          <a:blip r:embed="rId2"/>
                          <a:stretch>
                            <a:fillRect l="-68896" t="-454321" r="-72910" b="-20246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</a:tr>
                  <a:tr h="495923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ko-KR" altLang="en-US" sz="850" b="1" i="0" kern="1200" dirty="0" err="1" smtClean="0">
                              <a:latin typeface="+mn-ea"/>
                              <a:ea typeface="+mn-ea"/>
                            </a:rPr>
                            <a:t>과검율</a:t>
                          </a:r>
                          <a:endParaRPr lang="en-US" altLang="ko-KR" sz="850" b="1" i="0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 rotWithShape="0">
                          <a:blip r:embed="rId2"/>
                          <a:stretch>
                            <a:fillRect l="-68896" t="-547561" r="-72910" b="-1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1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altLang="ko-KR" sz="850" b="1" kern="1200" dirty="0" smtClean="0">
                            <a:solidFill>
                              <a:schemeClr val="tx1"/>
                            </a:solidFill>
                            <a:latin typeface="+mn-ea"/>
                            <a:ea typeface="+mn-ea"/>
                            <a:cs typeface="+mn-cs"/>
                          </a:endParaRPr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</a:tr>
                  <a:tr h="495923"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 rotWithShape="0">
                          <a:blip r:embed="rId2"/>
                          <a:stretch>
                            <a:fillRect t="-655556" r="-250971" b="-123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 rotWithShape="0">
                          <a:blip r:embed="rId2"/>
                          <a:stretch>
                            <a:fillRect l="-68896" t="-655556" r="-72910" b="-123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ko-KR"/>
                        </a:p>
                      </a:txBody>
                      <a:tcPr anchor="ctr">
                        <a:lnL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 rotWithShape="0">
                          <a:blip r:embed="rId2"/>
                          <a:stretch>
                            <a:fillRect l="-232719" t="-655556" r="-461" b="-1235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9" name="직사각형 88"/>
              <p:cNvSpPr/>
              <p:nvPr/>
            </p:nvSpPr>
            <p:spPr>
              <a:xfrm>
                <a:off x="3396185" y="2921898"/>
                <a:ext cx="1354904" cy="3394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</m:ctrlPr>
                        </m:fPr>
                        <m:num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𝑇𝑃</m:t>
                          </m:r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+</m:t>
                          </m:r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𝑇𝑁</m:t>
                          </m:r>
                        </m:num>
                        <m:den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𝑇𝑃</m:t>
                          </m:r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+</m:t>
                          </m:r>
                          <m:r>
                            <a:rPr lang="en-US" altLang="ko-KR" sz="850" i="1" kern="0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𝑇𝑁</m:t>
                          </m:r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+</m:t>
                          </m:r>
                          <m:r>
                            <a:rPr lang="en-US" altLang="ko-KR" sz="850" i="1" kern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𝐹𝑃</m:t>
                          </m:r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+</m:t>
                          </m:r>
                          <m:r>
                            <a:rPr lang="en-US" altLang="ko-KR" sz="850" i="1" kern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𝐹𝑁</m:t>
                          </m:r>
                        </m:den>
                      </m:f>
                    </m:oMath>
                  </m:oMathPara>
                </a14:m>
                <a:endParaRPr lang="ko-KR" altLang="en-US" sz="850" dirty="0"/>
              </a:p>
            </p:txBody>
          </p:sp>
        </mc:Choice>
        <mc:Fallback xmlns="">
          <p:sp>
            <p:nvSpPr>
              <p:cNvPr id="89" name="직사각형 8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6185" y="2921898"/>
                <a:ext cx="1354904" cy="339452"/>
              </a:xfrm>
              <a:prstGeom prst="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1" name="직사각형 90"/>
              <p:cNvSpPr/>
              <p:nvPr/>
            </p:nvSpPr>
            <p:spPr>
              <a:xfrm>
                <a:off x="3755601" y="3413923"/>
                <a:ext cx="610424" cy="3394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ko-KR" sz="850" i="1" kern="0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</m:ctrlPr>
                        </m:fPr>
                        <m:num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𝑇𝑃</m:t>
                          </m:r>
                        </m:num>
                        <m:den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𝑇𝑃</m:t>
                          </m:r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+</m:t>
                          </m:r>
                          <m:r>
                            <a:rPr lang="en-US" altLang="ko-KR" sz="850" b="0" i="1" kern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𝐹𝑃</m:t>
                          </m:r>
                        </m:den>
                      </m:f>
                    </m:oMath>
                  </m:oMathPara>
                </a14:m>
                <a:endParaRPr lang="ko-KR" altLang="en-US" sz="850" dirty="0"/>
              </a:p>
            </p:txBody>
          </p:sp>
        </mc:Choice>
        <mc:Fallback xmlns="">
          <p:sp>
            <p:nvSpPr>
              <p:cNvPr id="91" name="직사각형 9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55601" y="3413923"/>
                <a:ext cx="610424" cy="339452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2" name="직사각형 91"/>
              <p:cNvSpPr/>
              <p:nvPr/>
            </p:nvSpPr>
            <p:spPr>
              <a:xfrm>
                <a:off x="3755601" y="5384163"/>
                <a:ext cx="636072" cy="3394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ko-KR" sz="850" i="1" kern="0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</m:ctrlPr>
                        </m:fPr>
                        <m:num>
                          <m:r>
                            <a:rPr lang="en-US" altLang="ko-KR" sz="850" b="0" i="1" kern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𝐹𝑁</m:t>
                          </m:r>
                        </m:num>
                        <m:den>
                          <m:r>
                            <a:rPr lang="en-US" altLang="ko-KR" sz="850" b="0" i="1" kern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𝐹𝑁</m:t>
                          </m:r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+</m:t>
                          </m:r>
                          <m:r>
                            <a:rPr lang="en-US" altLang="ko-KR" sz="850" b="0" i="1" kern="0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𝑇𝑁</m:t>
                          </m:r>
                        </m:den>
                      </m:f>
                    </m:oMath>
                  </m:oMathPara>
                </a14:m>
                <a:endParaRPr lang="ko-KR" altLang="en-US" sz="850" dirty="0"/>
              </a:p>
            </p:txBody>
          </p:sp>
        </mc:Choice>
        <mc:Fallback xmlns="">
          <p:sp>
            <p:nvSpPr>
              <p:cNvPr id="92" name="직사각형 9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55601" y="5384163"/>
                <a:ext cx="636072" cy="339452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3" name="직사각형 92"/>
              <p:cNvSpPr/>
              <p:nvPr/>
            </p:nvSpPr>
            <p:spPr>
              <a:xfrm>
                <a:off x="3755601" y="3884412"/>
                <a:ext cx="623248" cy="3394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</m:ctrlPr>
                        </m:fPr>
                        <m:num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𝑇𝑃</m:t>
                          </m:r>
                        </m:num>
                        <m:den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𝑇𝑃</m:t>
                          </m:r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+</m:t>
                          </m:r>
                          <m:r>
                            <a:rPr lang="en-US" altLang="ko-KR" sz="850" i="1" kern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𝐹𝑁</m:t>
                          </m:r>
                        </m:den>
                      </m:f>
                    </m:oMath>
                  </m:oMathPara>
                </a14:m>
                <a:endParaRPr lang="ko-KR" altLang="en-US" sz="850" dirty="0"/>
              </a:p>
            </p:txBody>
          </p:sp>
        </mc:Choice>
        <mc:Fallback xmlns="">
          <p:sp>
            <p:nvSpPr>
              <p:cNvPr id="93" name="직사각형 9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55601" y="3884412"/>
                <a:ext cx="623248" cy="339452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4" name="직사각형 93"/>
              <p:cNvSpPr/>
              <p:nvPr/>
            </p:nvSpPr>
            <p:spPr>
              <a:xfrm>
                <a:off x="3755601" y="4395361"/>
                <a:ext cx="623248" cy="3394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ko-KR" sz="850" i="1" kern="0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</m:ctrlPr>
                        </m:fPr>
                        <m:num>
                          <m:r>
                            <a:rPr lang="en-US" altLang="ko-KR" sz="850" b="0" i="1" kern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𝐹𝑃</m:t>
                          </m:r>
                        </m:num>
                        <m:den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𝑇</m:t>
                          </m:r>
                          <m:r>
                            <a:rPr lang="en-US" altLang="ko-KR" sz="850" b="0" i="1" kern="0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𝑁</m:t>
                          </m:r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+</m:t>
                          </m:r>
                          <m:r>
                            <a:rPr lang="en-US" altLang="ko-KR" sz="850" b="0" i="1" kern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𝐹𝑃</m:t>
                          </m:r>
                        </m:den>
                      </m:f>
                    </m:oMath>
                  </m:oMathPara>
                </a14:m>
                <a:endParaRPr lang="ko-KR" altLang="en-US" sz="850" dirty="0"/>
              </a:p>
            </p:txBody>
          </p:sp>
        </mc:Choice>
        <mc:Fallback xmlns="">
          <p:sp>
            <p:nvSpPr>
              <p:cNvPr id="94" name="직사각형 9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55601" y="4395361"/>
                <a:ext cx="623248" cy="339452"/>
              </a:xfrm>
              <a:prstGeom prst="rect">
                <a:avLst/>
              </a:prstGeom>
              <a:blipFill rotWithShape="0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5" name="직사각형 94"/>
              <p:cNvSpPr/>
              <p:nvPr/>
            </p:nvSpPr>
            <p:spPr>
              <a:xfrm>
                <a:off x="3755601" y="4882020"/>
                <a:ext cx="623248" cy="33945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altLang="ko-KR" sz="850" i="1" kern="0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</m:ctrlPr>
                        </m:fPr>
                        <m:num>
                          <m:r>
                            <a:rPr lang="en-US" altLang="ko-KR" sz="850" b="0" i="1" kern="0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𝑇𝑁</m:t>
                          </m:r>
                        </m:num>
                        <m:den>
                          <m:r>
                            <a:rPr lang="en-US" altLang="ko-KR" sz="850" b="0" i="1" kern="0" smtClea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𝑇𝑁</m:t>
                          </m:r>
                          <m:r>
                            <a:rPr lang="en-US" altLang="ko-KR" sz="850" i="1" kern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+</m:t>
                          </m:r>
                          <m:r>
                            <a:rPr lang="en-US" altLang="ko-KR" sz="850" b="0" i="1" kern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𝐹𝑃</m:t>
                          </m:r>
                        </m:den>
                      </m:f>
                    </m:oMath>
                  </m:oMathPara>
                </a14:m>
                <a:endParaRPr lang="ko-KR" altLang="en-US" sz="850" dirty="0"/>
              </a:p>
            </p:txBody>
          </p:sp>
        </mc:Choice>
        <mc:Fallback xmlns="">
          <p:sp>
            <p:nvSpPr>
              <p:cNvPr id="95" name="직사각형 9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55601" y="4882020"/>
                <a:ext cx="623248" cy="339452"/>
              </a:xfrm>
              <a:prstGeom prst="rect">
                <a:avLst/>
              </a:prstGeom>
              <a:blipFill rotWithShape="0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ko-KR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96" name="그룹 95"/>
          <p:cNvGrpSpPr/>
          <p:nvPr/>
        </p:nvGrpSpPr>
        <p:grpSpPr>
          <a:xfrm>
            <a:off x="5126142" y="833613"/>
            <a:ext cx="4250629" cy="325924"/>
            <a:chOff x="5126142" y="833613"/>
            <a:chExt cx="4250629" cy="325924"/>
          </a:xfrm>
        </p:grpSpPr>
        <p:sp>
          <p:nvSpPr>
            <p:cNvPr id="97" name="TextBox 96"/>
            <p:cNvSpPr txBox="1"/>
            <p:nvPr/>
          </p:nvSpPr>
          <p:spPr>
            <a:xfrm>
              <a:off x="5372839" y="833613"/>
              <a:ext cx="3874925" cy="325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</a:rPr>
                <a:t>이진분류 모델의 평가지표</a:t>
              </a:r>
            </a:p>
          </p:txBody>
        </p:sp>
        <p:cxnSp>
          <p:nvCxnSpPr>
            <p:cNvPr id="98" name="직선 연결선 97"/>
            <p:cNvCxnSpPr/>
            <p:nvPr/>
          </p:nvCxnSpPr>
          <p:spPr>
            <a:xfrm>
              <a:off x="5126142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240" name="TextBox 239"/>
          <p:cNvSpPr txBox="1"/>
          <p:nvPr/>
        </p:nvSpPr>
        <p:spPr>
          <a:xfrm>
            <a:off x="5130021" y="4093302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ROC Curve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란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5303102" y="4562766"/>
            <a:ext cx="2658639" cy="1903276"/>
            <a:chOff x="4990872" y="4165393"/>
            <a:chExt cx="3292462" cy="2299085"/>
          </a:xfrm>
        </p:grpSpPr>
        <p:grpSp>
          <p:nvGrpSpPr>
            <p:cNvPr id="99" name="그룹 98"/>
            <p:cNvGrpSpPr/>
            <p:nvPr/>
          </p:nvGrpSpPr>
          <p:grpSpPr>
            <a:xfrm>
              <a:off x="4990872" y="4397931"/>
              <a:ext cx="2577237" cy="2066547"/>
              <a:chOff x="5021140" y="1629709"/>
              <a:chExt cx="2577237" cy="2066547"/>
            </a:xfrm>
          </p:grpSpPr>
          <p:cxnSp>
            <p:nvCxnSpPr>
              <p:cNvPr id="100" name="직선 화살표 연결선 99"/>
              <p:cNvCxnSpPr/>
              <p:nvPr/>
            </p:nvCxnSpPr>
            <p:spPr>
              <a:xfrm>
                <a:off x="5530641" y="3326219"/>
                <a:ext cx="2067736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직선 화살표 연결선 100"/>
              <p:cNvCxnSpPr/>
              <p:nvPr/>
            </p:nvCxnSpPr>
            <p:spPr>
              <a:xfrm rot="16200000">
                <a:off x="4682387" y="2477964"/>
                <a:ext cx="1696509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직사각형 101"/>
              <p:cNvSpPr/>
              <p:nvPr/>
            </p:nvSpPr>
            <p:spPr>
              <a:xfrm>
                <a:off x="5894878" y="3490681"/>
                <a:ext cx="1578531" cy="20557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FPR(False Positive Rate)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3" name="직사각형 102"/>
              <p:cNvSpPr/>
              <p:nvPr/>
            </p:nvSpPr>
            <p:spPr>
              <a:xfrm rot="16200000">
                <a:off x="4551021" y="2435324"/>
                <a:ext cx="1208171" cy="26793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TPR(True Positive Rate)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04" name="직선 연결선 103"/>
              <p:cNvCxnSpPr/>
              <p:nvPr/>
            </p:nvCxnSpPr>
            <p:spPr>
              <a:xfrm rot="16200000" flipH="1">
                <a:off x="5666563" y="3337251"/>
                <a:ext cx="25037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직선 연결선 104"/>
              <p:cNvCxnSpPr/>
              <p:nvPr/>
            </p:nvCxnSpPr>
            <p:spPr>
              <a:xfrm rot="16200000" flipH="1">
                <a:off x="5988659" y="3337251"/>
                <a:ext cx="25037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직선 연결선 105"/>
              <p:cNvCxnSpPr/>
              <p:nvPr/>
            </p:nvCxnSpPr>
            <p:spPr>
              <a:xfrm rot="16200000" flipH="1">
                <a:off x="6310755" y="3337251"/>
                <a:ext cx="25037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직선 연결선 106"/>
              <p:cNvCxnSpPr/>
              <p:nvPr/>
            </p:nvCxnSpPr>
            <p:spPr>
              <a:xfrm rot="16200000" flipH="1">
                <a:off x="6632851" y="3337251"/>
                <a:ext cx="25037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직선 연결선 107"/>
              <p:cNvCxnSpPr/>
              <p:nvPr/>
            </p:nvCxnSpPr>
            <p:spPr>
              <a:xfrm rot="16200000" flipH="1">
                <a:off x="6954947" y="3337251"/>
                <a:ext cx="25037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직선 연결선 108"/>
              <p:cNvCxnSpPr/>
              <p:nvPr/>
            </p:nvCxnSpPr>
            <p:spPr>
              <a:xfrm rot="16200000" flipH="1">
                <a:off x="7277042" y="3337250"/>
                <a:ext cx="25037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직선 연결선 109"/>
              <p:cNvCxnSpPr/>
              <p:nvPr/>
            </p:nvCxnSpPr>
            <p:spPr>
              <a:xfrm flipH="1">
                <a:off x="5502227" y="1792610"/>
                <a:ext cx="2841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직선 연결선 110"/>
              <p:cNvCxnSpPr/>
              <p:nvPr/>
            </p:nvCxnSpPr>
            <p:spPr>
              <a:xfrm flipH="1">
                <a:off x="5502227" y="2076429"/>
                <a:ext cx="2841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직선 연결선 111"/>
              <p:cNvCxnSpPr/>
              <p:nvPr/>
            </p:nvCxnSpPr>
            <p:spPr>
              <a:xfrm flipH="1">
                <a:off x="5502227" y="2360247"/>
                <a:ext cx="2841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직선 연결선 112"/>
              <p:cNvCxnSpPr/>
              <p:nvPr/>
            </p:nvCxnSpPr>
            <p:spPr>
              <a:xfrm flipH="1">
                <a:off x="5502227" y="2644066"/>
                <a:ext cx="2841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직선 연결선 113"/>
              <p:cNvCxnSpPr/>
              <p:nvPr/>
            </p:nvCxnSpPr>
            <p:spPr>
              <a:xfrm flipH="1">
                <a:off x="5502227" y="2927884"/>
                <a:ext cx="2841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직선 연결선 114"/>
              <p:cNvCxnSpPr/>
              <p:nvPr/>
            </p:nvCxnSpPr>
            <p:spPr>
              <a:xfrm flipH="1">
                <a:off x="5502228" y="3211702"/>
                <a:ext cx="2841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직사각형 115"/>
              <p:cNvSpPr/>
              <p:nvPr/>
            </p:nvSpPr>
            <p:spPr>
              <a:xfrm>
                <a:off x="5835311" y="3366664"/>
                <a:ext cx="331733" cy="884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0.2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직사각형 116"/>
              <p:cNvSpPr/>
              <p:nvPr/>
            </p:nvSpPr>
            <p:spPr>
              <a:xfrm>
                <a:off x="6157407" y="3366664"/>
                <a:ext cx="331733" cy="884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0.4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직사각형 117"/>
              <p:cNvSpPr/>
              <p:nvPr/>
            </p:nvSpPr>
            <p:spPr>
              <a:xfrm>
                <a:off x="6479503" y="3366664"/>
                <a:ext cx="331733" cy="884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0.6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직사각형 118"/>
              <p:cNvSpPr/>
              <p:nvPr/>
            </p:nvSpPr>
            <p:spPr>
              <a:xfrm>
                <a:off x="5513215" y="3366664"/>
                <a:ext cx="331733" cy="884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0.0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직사각형 119"/>
              <p:cNvSpPr/>
              <p:nvPr/>
            </p:nvSpPr>
            <p:spPr>
              <a:xfrm>
                <a:off x="6800537" y="3366664"/>
                <a:ext cx="331733" cy="884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0.8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1" name="직사각형 120"/>
              <p:cNvSpPr/>
              <p:nvPr/>
            </p:nvSpPr>
            <p:spPr>
              <a:xfrm>
                <a:off x="7123694" y="3366664"/>
                <a:ext cx="331733" cy="884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1.0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2" name="직사각형 121"/>
              <p:cNvSpPr/>
              <p:nvPr/>
            </p:nvSpPr>
            <p:spPr>
              <a:xfrm>
                <a:off x="5241626" y="2889206"/>
                <a:ext cx="331733" cy="884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0.2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직사각형 122"/>
              <p:cNvSpPr/>
              <p:nvPr/>
            </p:nvSpPr>
            <p:spPr>
              <a:xfrm>
                <a:off x="5241626" y="2605740"/>
                <a:ext cx="331733" cy="884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0.4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4" name="직사각형 123"/>
              <p:cNvSpPr/>
              <p:nvPr/>
            </p:nvSpPr>
            <p:spPr>
              <a:xfrm>
                <a:off x="5241626" y="2316386"/>
                <a:ext cx="331733" cy="884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0.6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직사각형 124"/>
              <p:cNvSpPr/>
              <p:nvPr/>
            </p:nvSpPr>
            <p:spPr>
              <a:xfrm>
                <a:off x="5241626" y="3173377"/>
                <a:ext cx="331733" cy="884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0.0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6" name="직사각형 125"/>
              <p:cNvSpPr/>
              <p:nvPr/>
            </p:nvSpPr>
            <p:spPr>
              <a:xfrm>
                <a:off x="5241626" y="2038355"/>
                <a:ext cx="331733" cy="884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0.8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7" name="직사각형 126"/>
              <p:cNvSpPr/>
              <p:nvPr/>
            </p:nvSpPr>
            <p:spPr>
              <a:xfrm>
                <a:off x="5241626" y="1763496"/>
                <a:ext cx="331733" cy="884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sz="800" dirty="0" smtClean="0">
                    <a:solidFill>
                      <a:schemeClr val="tx1"/>
                    </a:solidFill>
                  </a:rPr>
                  <a:t>1.0</a:t>
                </a:r>
                <a:endParaRPr lang="ko-KR" altLang="en-US" sz="8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28" name="직선 연결선 127"/>
              <p:cNvCxnSpPr/>
              <p:nvPr/>
            </p:nvCxnSpPr>
            <p:spPr>
              <a:xfrm flipH="1">
                <a:off x="5679081" y="1799636"/>
                <a:ext cx="1614053" cy="1417956"/>
              </a:xfrm>
              <a:prstGeom prst="line">
                <a:avLst/>
              </a:prstGeom>
              <a:ln>
                <a:solidFill>
                  <a:srgbClr val="FFC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9" name="자유형 128"/>
              <p:cNvSpPr/>
              <p:nvPr/>
            </p:nvSpPr>
            <p:spPr>
              <a:xfrm>
                <a:off x="5671364" y="1799898"/>
                <a:ext cx="1621679" cy="1406860"/>
              </a:xfrm>
              <a:custGeom>
                <a:avLst/>
                <a:gdLst>
                  <a:gd name="connsiteX0" fmla="*/ 26858 w 1750883"/>
                  <a:gd name="connsiteY0" fmla="*/ 1581150 h 1581150"/>
                  <a:gd name="connsiteX1" fmla="*/ 236408 w 1750883"/>
                  <a:gd name="connsiteY1" fmla="*/ 342900 h 1581150"/>
                  <a:gd name="connsiteX2" fmla="*/ 1750883 w 1750883"/>
                  <a:gd name="connsiteY2" fmla="*/ 0 h 1581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50883" h="1581150">
                    <a:moveTo>
                      <a:pt x="26858" y="1581150"/>
                    </a:moveTo>
                    <a:cubicBezTo>
                      <a:pt x="-12036" y="1093787"/>
                      <a:pt x="-50929" y="606425"/>
                      <a:pt x="236408" y="342900"/>
                    </a:cubicBezTo>
                    <a:cubicBezTo>
                      <a:pt x="523745" y="79375"/>
                      <a:pt x="1506408" y="60325"/>
                      <a:pt x="1750883" y="0"/>
                    </a:cubicBezTo>
                  </a:path>
                </a:pathLst>
              </a:custGeom>
              <a:noFill/>
              <a:ln w="28575">
                <a:solidFill>
                  <a:srgbClr val="0000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/>
              </a:p>
            </p:txBody>
          </p:sp>
        </p:grpSp>
        <p:sp>
          <p:nvSpPr>
            <p:cNvPr id="130" name="직사각형 129"/>
            <p:cNvSpPr/>
            <p:nvPr/>
          </p:nvSpPr>
          <p:spPr>
            <a:xfrm>
              <a:off x="7587310" y="5909571"/>
              <a:ext cx="696024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850" b="1" dirty="0" err="1" smtClean="0">
                  <a:solidFill>
                    <a:schemeClr val="dk1"/>
                  </a:solidFill>
                  <a:latin typeface="+mn-ea"/>
                </a:rPr>
                <a:t>미검율</a:t>
              </a:r>
              <a:endParaRPr lang="en-US" altLang="ko-KR" sz="850" b="1" dirty="0" smtClean="0">
                <a:solidFill>
                  <a:schemeClr val="dk1"/>
                </a:solidFill>
                <a:latin typeface="+mn-ea"/>
              </a:endParaRPr>
            </a:p>
            <a:p>
              <a:pPr algn="ctr"/>
              <a:r>
                <a:rPr lang="en-US" altLang="ko-KR" sz="850" b="1" dirty="0" smtClean="0">
                  <a:solidFill>
                    <a:schemeClr val="dk1"/>
                  </a:solidFill>
                  <a:latin typeface="+mn-ea"/>
                </a:rPr>
                <a:t>(1-</a:t>
              </a:r>
              <a:r>
                <a:rPr lang="ko-KR" altLang="en-US" sz="850" b="1" smtClean="0">
                  <a:solidFill>
                    <a:schemeClr val="dk1"/>
                  </a:solidFill>
                  <a:latin typeface="+mn-ea"/>
                </a:rPr>
                <a:t>특이도</a:t>
              </a:r>
              <a:r>
                <a:rPr lang="en-US" altLang="ko-KR" sz="850" b="1" dirty="0" smtClean="0">
                  <a:solidFill>
                    <a:schemeClr val="dk1"/>
                  </a:solidFill>
                  <a:latin typeface="+mn-ea"/>
                </a:rPr>
                <a:t>)</a:t>
              </a:r>
              <a:endParaRPr lang="en-US" altLang="ko-KR" sz="850" b="1" dirty="0">
                <a:solidFill>
                  <a:schemeClr val="dk1"/>
                </a:solidFill>
                <a:latin typeface="+mn-ea"/>
              </a:endParaRPr>
            </a:p>
          </p:txBody>
        </p:sp>
        <p:sp>
          <p:nvSpPr>
            <p:cNvPr id="131" name="직사각형 130"/>
            <p:cNvSpPr/>
            <p:nvPr/>
          </p:nvSpPr>
          <p:spPr>
            <a:xfrm>
              <a:off x="5258917" y="4165393"/>
              <a:ext cx="511679" cy="2231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ko-KR" altLang="en-US" sz="850" b="1" dirty="0" err="1">
                  <a:solidFill>
                    <a:schemeClr val="dk1"/>
                  </a:solidFill>
                  <a:latin typeface="+mn-ea"/>
                </a:rPr>
                <a:t>재현율</a:t>
              </a:r>
              <a:endParaRPr lang="en-US" altLang="ko-KR" sz="850" b="1" dirty="0">
                <a:solidFill>
                  <a:schemeClr val="dk1"/>
                </a:solidFill>
                <a:latin typeface="+mn-ea"/>
              </a:endParaRPr>
            </a:p>
          </p:txBody>
        </p:sp>
        <p:sp>
          <p:nvSpPr>
            <p:cNvPr id="3" name="직사각형 2"/>
            <p:cNvSpPr/>
            <p:nvPr/>
          </p:nvSpPr>
          <p:spPr>
            <a:xfrm>
              <a:off x="5699503" y="5128098"/>
              <a:ext cx="2110622" cy="3226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lvl="1">
                <a:lnSpc>
                  <a:spcPct val="120000"/>
                </a:lnSpc>
                <a:spcAft>
                  <a:spcPts val="600"/>
                </a:spcAft>
              </a:pPr>
              <a:r>
                <a:rPr lang="ko-KR" altLang="en-US" sz="105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그래프의 면적 </a:t>
              </a:r>
              <a:r>
                <a:rPr lang="en-US" altLang="ko-KR" sz="105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= AUROC</a:t>
              </a:r>
              <a:endParaRPr lang="ko-KR" altLang="en-US" sz="105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endParaRPr>
            </a:p>
          </p:txBody>
        </p:sp>
      </p:grpSp>
      <p:sp>
        <p:nvSpPr>
          <p:cNvPr id="242" name="직사각형 241"/>
          <p:cNvSpPr/>
          <p:nvPr/>
        </p:nvSpPr>
        <p:spPr>
          <a:xfrm>
            <a:off x="7760770" y="4505092"/>
            <a:ext cx="194091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>
              <a:lnSpc>
                <a:spcPct val="120000"/>
              </a:lnSpc>
              <a:spcAft>
                <a:spcPts val="600"/>
              </a:spcAft>
            </a:pPr>
            <a:r>
              <a:rPr lang="en-US" altLang="ko-KR" sz="1200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AUROC </a:t>
            </a:r>
            <a:r>
              <a:rPr lang="ko-KR" altLang="en-US" sz="120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수치별 모델 의미</a:t>
            </a:r>
            <a:endParaRPr lang="ko-KR" altLang="en-US" sz="1200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graphicFrame>
        <p:nvGraphicFramePr>
          <p:cNvPr id="254" name="표 2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244734"/>
              </p:ext>
            </p:extLst>
          </p:nvPr>
        </p:nvGraphicFramePr>
        <p:xfrm>
          <a:off x="8068362" y="4933331"/>
          <a:ext cx="1472801" cy="1356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20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07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1219193" rtl="0" eaLnBrk="1" latinLnBrk="1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1pPr>
                      <a:lvl2pPr marL="609597" algn="l" defTabSz="1219193" rtl="0" eaLnBrk="1" latinLnBrk="1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2pPr>
                      <a:lvl3pPr marL="1219193" algn="l" defTabSz="1219193" rtl="0" eaLnBrk="1" latinLnBrk="1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3pPr>
                      <a:lvl4pPr marL="1828789" algn="l" defTabSz="1219193" rtl="0" eaLnBrk="1" latinLnBrk="1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4pPr>
                      <a:lvl5pPr marL="2438386" algn="l" defTabSz="1219193" rtl="0" eaLnBrk="1" latinLnBrk="1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5pPr>
                      <a:lvl6pPr marL="3047983" algn="l" defTabSz="1219193" rtl="0" eaLnBrk="1" latinLnBrk="1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6pPr>
                      <a:lvl7pPr marL="3657579" algn="l" defTabSz="1219193" rtl="0" eaLnBrk="1" latinLnBrk="1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7pPr>
                      <a:lvl8pPr marL="4267175" algn="l" defTabSz="1219193" rtl="0" eaLnBrk="1" latinLnBrk="1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8pPr>
                      <a:lvl9pPr marL="4876772" algn="l" defTabSz="1219193" rtl="0" eaLnBrk="1" latinLnBrk="1" hangingPunct="1">
                        <a:defRPr sz="2400" b="1" kern="1200">
                          <a:solidFill>
                            <a:schemeClr val="lt1"/>
                          </a:solidFill>
                          <a:latin typeface="Arial"/>
                          <a:ea typeface="맑은 고딕"/>
                        </a:defRPr>
                      </a:lvl9pPr>
                    </a:lstStyle>
                    <a:p>
                      <a:pPr algn="ctr"/>
                      <a:r>
                        <a:rPr lang="ko-KR" altLang="en-US" sz="105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구간</a:t>
                      </a:r>
                      <a:endParaRPr lang="en-US" sz="105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의미</a:t>
                      </a:r>
                      <a:endParaRPr lang="en-US" sz="1050" b="1" kern="120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8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0.5~0.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Fai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08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0.6~0.7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Poo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08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0.7~0.8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Fai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8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0.8~0.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Good</a:t>
                      </a:r>
                      <a:endParaRPr lang="ko-KR" altLang="en-US" sz="850" b="0" kern="12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08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0.9~1.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50" b="0" kern="12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Excellen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56" name="직사각형 255"/>
          <p:cNvSpPr/>
          <p:nvPr/>
        </p:nvSpPr>
        <p:spPr>
          <a:xfrm>
            <a:off x="6564798" y="2409937"/>
            <a:ext cx="1617275" cy="39445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dirty="0" err="1">
                <a:solidFill>
                  <a:prstClr val="black"/>
                </a:solidFill>
              </a:rPr>
              <a:t>임계치가</a:t>
            </a:r>
            <a:r>
              <a:rPr lang="ko-KR" altLang="en-US" sz="1050" dirty="0">
                <a:solidFill>
                  <a:prstClr val="black"/>
                </a:solidFill>
              </a:rPr>
              <a:t> 하나로 </a:t>
            </a:r>
            <a:endParaRPr lang="en-US" altLang="ko-KR" sz="1050" dirty="0">
              <a:solidFill>
                <a:prstClr val="black"/>
              </a:solidFill>
            </a:endParaRPr>
          </a:p>
          <a:p>
            <a:pPr algn="ctr"/>
            <a:r>
              <a:rPr lang="ko-KR" altLang="en-US" sz="1050" dirty="0" smtClean="0">
                <a:solidFill>
                  <a:prstClr val="black"/>
                </a:solidFill>
              </a:rPr>
              <a:t>정해져 있는가</a:t>
            </a:r>
            <a:r>
              <a:rPr lang="en-US" altLang="ko-KR" sz="1050" dirty="0" smtClean="0">
                <a:solidFill>
                  <a:prstClr val="black"/>
                </a:solidFill>
              </a:rPr>
              <a:t>?</a:t>
            </a:r>
            <a:endParaRPr lang="ko-KR" altLang="en-US" sz="1050" dirty="0">
              <a:solidFill>
                <a:prstClr val="black"/>
              </a:solidFill>
            </a:endParaRPr>
          </a:p>
        </p:txBody>
      </p:sp>
      <p:sp>
        <p:nvSpPr>
          <p:cNvPr id="257" name="직사각형 256"/>
          <p:cNvSpPr/>
          <p:nvPr/>
        </p:nvSpPr>
        <p:spPr>
          <a:xfrm>
            <a:off x="5988329" y="3073499"/>
            <a:ext cx="1294966" cy="29777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 smtClean="0">
                <a:solidFill>
                  <a:prstClr val="black"/>
                </a:solidFill>
              </a:rPr>
              <a:t>F1-score</a:t>
            </a:r>
            <a:endParaRPr lang="ko-KR" altLang="en-US" sz="1050" dirty="0">
              <a:solidFill>
                <a:prstClr val="black"/>
              </a:solidFill>
            </a:endParaRPr>
          </a:p>
        </p:txBody>
      </p:sp>
      <p:sp>
        <p:nvSpPr>
          <p:cNvPr id="258" name="직사각형 257"/>
          <p:cNvSpPr/>
          <p:nvPr/>
        </p:nvSpPr>
        <p:spPr>
          <a:xfrm>
            <a:off x="7762062" y="3100454"/>
            <a:ext cx="1788339" cy="39445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dirty="0" smtClean="0">
                <a:solidFill>
                  <a:prstClr val="black"/>
                </a:solidFill>
              </a:rPr>
              <a:t>두 클래스가 </a:t>
            </a:r>
            <a:endParaRPr lang="en-US" altLang="ko-KR" sz="1050" dirty="0" smtClean="0">
              <a:solidFill>
                <a:prstClr val="black"/>
              </a:solidFill>
            </a:endParaRPr>
          </a:p>
          <a:p>
            <a:pPr algn="ctr"/>
            <a:r>
              <a:rPr lang="ko-KR" altLang="en-US" sz="1050" dirty="0" smtClean="0">
                <a:solidFill>
                  <a:prstClr val="black"/>
                </a:solidFill>
              </a:rPr>
              <a:t>동일하게 중요한가</a:t>
            </a:r>
            <a:r>
              <a:rPr lang="en-US" altLang="ko-KR" sz="1050" dirty="0" smtClean="0">
                <a:solidFill>
                  <a:prstClr val="black"/>
                </a:solidFill>
              </a:rPr>
              <a:t>?</a:t>
            </a:r>
            <a:endParaRPr lang="ko-KR" altLang="en-US" sz="1050" dirty="0">
              <a:solidFill>
                <a:prstClr val="black"/>
              </a:solidFill>
            </a:endParaRPr>
          </a:p>
        </p:txBody>
      </p:sp>
      <p:cxnSp>
        <p:nvCxnSpPr>
          <p:cNvPr id="259" name="꺾인 연결선 258"/>
          <p:cNvCxnSpPr>
            <a:stCxn id="256" idx="2"/>
            <a:endCxn id="257" idx="0"/>
          </p:cNvCxnSpPr>
          <p:nvPr/>
        </p:nvCxnSpPr>
        <p:spPr>
          <a:xfrm rot="5400000">
            <a:off x="6870071" y="2570133"/>
            <a:ext cx="269107" cy="73762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꺾인 연결선 259"/>
          <p:cNvCxnSpPr>
            <a:stCxn id="256" idx="2"/>
            <a:endCxn id="258" idx="0"/>
          </p:cNvCxnSpPr>
          <p:nvPr/>
        </p:nvCxnSpPr>
        <p:spPr>
          <a:xfrm rot="16200000" flipH="1">
            <a:off x="7866803" y="2311025"/>
            <a:ext cx="296062" cy="1282796"/>
          </a:xfrm>
          <a:prstGeom prst="bentConnector3">
            <a:avLst>
              <a:gd name="adj1" fmla="val 4376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1" name="그룹 260"/>
          <p:cNvGrpSpPr/>
          <p:nvPr/>
        </p:nvGrpSpPr>
        <p:grpSpPr>
          <a:xfrm>
            <a:off x="7789550" y="3848663"/>
            <a:ext cx="1733362" cy="289228"/>
            <a:chOff x="2880955" y="5110667"/>
            <a:chExt cx="1622821" cy="525443"/>
          </a:xfrm>
        </p:grpSpPr>
        <p:sp>
          <p:nvSpPr>
            <p:cNvPr id="274" name="직사각형 273"/>
            <p:cNvSpPr/>
            <p:nvPr/>
          </p:nvSpPr>
          <p:spPr>
            <a:xfrm>
              <a:off x="3696953" y="5110667"/>
              <a:ext cx="806823" cy="5254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dirty="0" smtClean="0">
                  <a:solidFill>
                    <a:prstClr val="black"/>
                  </a:solidFill>
                </a:rPr>
                <a:t>PR AUC</a:t>
              </a:r>
              <a:endParaRPr lang="ko-KR" altLang="en-US" sz="1050" dirty="0">
                <a:solidFill>
                  <a:prstClr val="black"/>
                </a:solidFill>
              </a:endParaRPr>
            </a:p>
          </p:txBody>
        </p:sp>
        <p:sp>
          <p:nvSpPr>
            <p:cNvPr id="275" name="직사각형 274"/>
            <p:cNvSpPr/>
            <p:nvPr/>
          </p:nvSpPr>
          <p:spPr>
            <a:xfrm>
              <a:off x="2880955" y="5110667"/>
              <a:ext cx="749468" cy="525443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1050" dirty="0" smtClean="0">
                  <a:solidFill>
                    <a:prstClr val="black"/>
                  </a:solidFill>
                </a:rPr>
                <a:t>ROC AUC</a:t>
              </a:r>
              <a:endParaRPr lang="ko-KR" altLang="en-US" sz="1050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262" name="꺾인 연결선 261"/>
          <p:cNvCxnSpPr>
            <a:stCxn id="258" idx="2"/>
            <a:endCxn id="274" idx="0"/>
          </p:cNvCxnSpPr>
          <p:nvPr/>
        </p:nvCxnSpPr>
        <p:spPr>
          <a:xfrm rot="16200000" flipH="1">
            <a:off x="8697250" y="3453891"/>
            <a:ext cx="353754" cy="43579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꺾인 연결선 262"/>
          <p:cNvCxnSpPr>
            <a:stCxn id="258" idx="2"/>
            <a:endCxn id="275" idx="0"/>
          </p:cNvCxnSpPr>
          <p:nvPr/>
        </p:nvCxnSpPr>
        <p:spPr>
          <a:xfrm rot="5400000">
            <a:off x="8246144" y="3438575"/>
            <a:ext cx="353754" cy="466422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직사각형 263"/>
          <p:cNvSpPr/>
          <p:nvPr/>
        </p:nvSpPr>
        <p:spPr>
          <a:xfrm>
            <a:off x="7986881" y="3523518"/>
            <a:ext cx="521857" cy="129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 smtClean="0">
                <a:solidFill>
                  <a:prstClr val="black"/>
                </a:solidFill>
              </a:rPr>
              <a:t>Yes</a:t>
            </a:r>
            <a:endParaRPr lang="ko-KR" altLang="en-US" sz="1050">
              <a:solidFill>
                <a:prstClr val="black"/>
              </a:solidFill>
            </a:endParaRPr>
          </a:p>
        </p:txBody>
      </p:sp>
      <p:sp>
        <p:nvSpPr>
          <p:cNvPr id="265" name="직사각형 264"/>
          <p:cNvSpPr/>
          <p:nvPr/>
        </p:nvSpPr>
        <p:spPr>
          <a:xfrm>
            <a:off x="8803605" y="3531456"/>
            <a:ext cx="521857" cy="129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 smtClean="0">
                <a:solidFill>
                  <a:prstClr val="black"/>
                </a:solidFill>
              </a:rPr>
              <a:t>No</a:t>
            </a:r>
            <a:endParaRPr lang="ko-KR" altLang="en-US" sz="1050">
              <a:solidFill>
                <a:prstClr val="black"/>
              </a:solidFill>
            </a:endParaRPr>
          </a:p>
        </p:txBody>
      </p:sp>
      <p:sp>
        <p:nvSpPr>
          <p:cNvPr id="266" name="직사각형 265"/>
          <p:cNvSpPr/>
          <p:nvPr/>
        </p:nvSpPr>
        <p:spPr>
          <a:xfrm>
            <a:off x="6009628" y="2864812"/>
            <a:ext cx="521857" cy="1296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 smtClean="0">
                <a:solidFill>
                  <a:prstClr val="black"/>
                </a:solidFill>
              </a:rPr>
              <a:t>Yes</a:t>
            </a:r>
            <a:endParaRPr lang="ko-KR" altLang="en-US" sz="1050">
              <a:solidFill>
                <a:prstClr val="black"/>
              </a:solidFill>
            </a:endParaRPr>
          </a:p>
        </p:txBody>
      </p:sp>
      <p:sp>
        <p:nvSpPr>
          <p:cNvPr id="267" name="직사각형 266"/>
          <p:cNvSpPr/>
          <p:nvPr/>
        </p:nvSpPr>
        <p:spPr>
          <a:xfrm>
            <a:off x="8614735" y="2919287"/>
            <a:ext cx="521857" cy="1296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 smtClean="0">
                <a:solidFill>
                  <a:prstClr val="black"/>
                </a:solidFill>
              </a:rPr>
              <a:t>No</a:t>
            </a:r>
            <a:endParaRPr lang="ko-KR" altLang="en-US" sz="1050">
              <a:solidFill>
                <a:prstClr val="black"/>
              </a:solidFill>
            </a:endParaRPr>
          </a:p>
        </p:txBody>
      </p:sp>
      <p:sp>
        <p:nvSpPr>
          <p:cNvPr id="268" name="직사각형 267"/>
          <p:cNvSpPr/>
          <p:nvPr/>
        </p:nvSpPr>
        <p:spPr>
          <a:xfrm>
            <a:off x="5748002" y="1717964"/>
            <a:ext cx="1744647" cy="39445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050" dirty="0" err="1" smtClean="0">
                <a:solidFill>
                  <a:prstClr val="black"/>
                </a:solidFill>
              </a:rPr>
              <a:t>클래스별</a:t>
            </a:r>
            <a:r>
              <a:rPr lang="ko-KR" altLang="en-US" sz="1050" dirty="0" smtClean="0">
                <a:solidFill>
                  <a:prstClr val="black"/>
                </a:solidFill>
              </a:rPr>
              <a:t> 분포가</a:t>
            </a:r>
            <a:endParaRPr lang="en-US" altLang="ko-KR" sz="1050" dirty="0" smtClean="0">
              <a:solidFill>
                <a:prstClr val="black"/>
              </a:solidFill>
            </a:endParaRPr>
          </a:p>
          <a:p>
            <a:pPr algn="ctr"/>
            <a:r>
              <a:rPr lang="ko-KR" altLang="en-US" sz="1050" dirty="0" smtClean="0">
                <a:solidFill>
                  <a:prstClr val="black"/>
                </a:solidFill>
              </a:rPr>
              <a:t>동일한가</a:t>
            </a:r>
            <a:r>
              <a:rPr lang="en-US" altLang="ko-KR" sz="1050" dirty="0" smtClean="0">
                <a:solidFill>
                  <a:prstClr val="black"/>
                </a:solidFill>
              </a:rPr>
              <a:t>?</a:t>
            </a:r>
            <a:endParaRPr lang="ko-KR" altLang="en-US" sz="1050" dirty="0">
              <a:solidFill>
                <a:prstClr val="black"/>
              </a:solidFill>
            </a:endParaRPr>
          </a:p>
        </p:txBody>
      </p:sp>
      <p:cxnSp>
        <p:nvCxnSpPr>
          <p:cNvPr id="269" name="꺾인 연결선 268"/>
          <p:cNvCxnSpPr>
            <a:stCxn id="268" idx="2"/>
            <a:endCxn id="271" idx="0"/>
          </p:cNvCxnSpPr>
          <p:nvPr/>
        </p:nvCxnSpPr>
        <p:spPr>
          <a:xfrm rot="5400000">
            <a:off x="6099740" y="1862395"/>
            <a:ext cx="270563" cy="77061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꺾인 연결선 269"/>
          <p:cNvCxnSpPr>
            <a:stCxn id="268" idx="2"/>
            <a:endCxn id="256" idx="0"/>
          </p:cNvCxnSpPr>
          <p:nvPr/>
        </p:nvCxnSpPr>
        <p:spPr>
          <a:xfrm rot="16200000" flipH="1">
            <a:off x="6848122" y="1884623"/>
            <a:ext cx="297518" cy="753110"/>
          </a:xfrm>
          <a:prstGeom prst="bentConnector3">
            <a:avLst>
              <a:gd name="adj1" fmla="val 46896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직사각형 270"/>
          <p:cNvSpPr/>
          <p:nvPr/>
        </p:nvSpPr>
        <p:spPr>
          <a:xfrm>
            <a:off x="5449455" y="2382982"/>
            <a:ext cx="800519" cy="29777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 smtClean="0">
                <a:solidFill>
                  <a:prstClr val="black"/>
                </a:solidFill>
              </a:rPr>
              <a:t>Accuracy</a:t>
            </a:r>
            <a:endParaRPr lang="ko-KR" altLang="en-US" sz="1050" dirty="0">
              <a:solidFill>
                <a:prstClr val="black"/>
              </a:solidFill>
            </a:endParaRPr>
          </a:p>
        </p:txBody>
      </p:sp>
      <p:sp>
        <p:nvSpPr>
          <p:cNvPr id="272" name="직사각형 271"/>
          <p:cNvSpPr/>
          <p:nvPr/>
        </p:nvSpPr>
        <p:spPr>
          <a:xfrm>
            <a:off x="5353976" y="2157094"/>
            <a:ext cx="521857" cy="1296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 smtClean="0">
                <a:solidFill>
                  <a:prstClr val="black"/>
                </a:solidFill>
              </a:rPr>
              <a:t>Yes</a:t>
            </a:r>
            <a:endParaRPr lang="ko-KR" altLang="en-US" sz="1050">
              <a:solidFill>
                <a:prstClr val="black"/>
              </a:solidFill>
            </a:endParaRPr>
          </a:p>
        </p:txBody>
      </p:sp>
      <p:sp>
        <p:nvSpPr>
          <p:cNvPr id="273" name="직사각형 272"/>
          <p:cNvSpPr/>
          <p:nvPr/>
        </p:nvSpPr>
        <p:spPr>
          <a:xfrm>
            <a:off x="7266355" y="2156151"/>
            <a:ext cx="521857" cy="1296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050" dirty="0" smtClean="0">
                <a:solidFill>
                  <a:prstClr val="black"/>
                </a:solidFill>
              </a:rPr>
              <a:t>No</a:t>
            </a:r>
            <a:endParaRPr lang="ko-KR" altLang="en-US" sz="1050" dirty="0">
              <a:solidFill>
                <a:prstClr val="black"/>
              </a:solidFill>
            </a:endParaRPr>
          </a:p>
        </p:txBody>
      </p:sp>
      <p:sp>
        <p:nvSpPr>
          <p:cNvPr id="276" name="TextBox 275"/>
          <p:cNvSpPr txBox="1"/>
          <p:nvPr/>
        </p:nvSpPr>
        <p:spPr>
          <a:xfrm>
            <a:off x="5130021" y="1225410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이진 분류 모델은 어떻게 평가해야 하는가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77" name="직사각형 76">
            <a:hlinkClick r:id="rId9" action="ppaction://hlinksldjump"/>
          </p:cNvPr>
          <p:cNvSpPr/>
          <p:nvPr/>
        </p:nvSpPr>
        <p:spPr>
          <a:xfrm>
            <a:off x="9023838" y="284285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smtClean="0">
                <a:solidFill>
                  <a:schemeClr val="tx1"/>
                </a:solidFill>
              </a:rPr>
              <a:t>돌아가기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201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3" y="209756"/>
            <a:ext cx="6156887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>
                <a:latin typeface="+mj-ea"/>
              </a:rPr>
              <a:t>[</a:t>
            </a:r>
            <a:r>
              <a:rPr lang="ko-KR" altLang="en-US">
                <a:latin typeface="+mj-ea"/>
              </a:rPr>
              <a:t>참고</a:t>
            </a:r>
            <a:r>
              <a:rPr lang="en-US" altLang="ko-KR" dirty="0">
                <a:latin typeface="+mj-ea"/>
              </a:rPr>
              <a:t>] </a:t>
            </a:r>
            <a:r>
              <a:rPr lang="ko-KR" altLang="en-US">
                <a:solidFill>
                  <a:schemeClr val="bg2">
                    <a:lumMod val="25000"/>
                  </a:schemeClr>
                </a:solidFill>
              </a:rPr>
              <a:t>별도 대시보드 구축 </a:t>
            </a:r>
            <a:r>
              <a:rPr lang="ko-KR" altLang="en-US" smtClean="0">
                <a:solidFill>
                  <a:schemeClr val="bg2">
                    <a:lumMod val="25000"/>
                  </a:schemeClr>
                </a:solidFill>
              </a:rPr>
              <a:t>방안 </a:t>
            </a:r>
            <a:r>
              <a:rPr lang="en-US" altLang="ko-KR" dirty="0" smtClean="0">
                <a:solidFill>
                  <a:schemeClr val="bg2">
                    <a:lumMod val="25000"/>
                  </a:schemeClr>
                </a:solidFill>
              </a:rPr>
              <a:t>– </a:t>
            </a:r>
            <a:r>
              <a:rPr lang="ko-KR" altLang="en-US" smtClean="0">
                <a:latin typeface="+mj-ea"/>
              </a:rPr>
              <a:t>대시보드 예시</a:t>
            </a:r>
            <a:endParaRPr lang="ko-KR" altLang="en-US" dirty="0">
              <a:latin typeface="+mj-ea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650336" y="655609"/>
            <a:ext cx="8911177" cy="5653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5" name="표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2296578"/>
              </p:ext>
            </p:extLst>
          </p:nvPr>
        </p:nvGraphicFramePr>
        <p:xfrm>
          <a:off x="746020" y="1928273"/>
          <a:ext cx="1031815" cy="18542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31815">
                  <a:extLst>
                    <a:ext uri="{9D8B030D-6E8A-4147-A177-3AD203B41FA5}">
                      <a16:colId xmlns:a16="http://schemas.microsoft.com/office/drawing/2014/main" val="15292695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smtClean="0"/>
                        <a:t>인자</a:t>
                      </a:r>
                      <a:endParaRPr lang="ko-KR" altLang="en-US" sz="1100" b="1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27187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 err="1" smtClean="0"/>
                        <a:t>ㅇㅇ</a:t>
                      </a:r>
                      <a:endParaRPr lang="ko-KR" altLang="en-US" sz="1100" b="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1298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 err="1" smtClean="0"/>
                        <a:t>ㅇㅇ</a:t>
                      </a:r>
                      <a:endParaRPr lang="ko-KR" altLang="en-US" sz="1100" b="1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2598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0" dirty="0" smtClean="0"/>
                        <a:t>…</a:t>
                      </a:r>
                      <a:endParaRPr lang="ko-KR" altLang="en-US" sz="1100" b="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19625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0" dirty="0" err="1" smtClean="0"/>
                        <a:t>ㅇㅇ</a:t>
                      </a:r>
                      <a:endParaRPr lang="ko-KR" altLang="en-US" sz="1100" b="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126842"/>
                  </a:ext>
                </a:extLst>
              </a:tr>
            </a:tbl>
          </a:graphicData>
        </a:graphic>
      </p:graphicFrame>
      <p:cxnSp>
        <p:nvCxnSpPr>
          <p:cNvPr id="16" name="직선 연결선 15"/>
          <p:cNvCxnSpPr/>
          <p:nvPr/>
        </p:nvCxnSpPr>
        <p:spPr>
          <a:xfrm>
            <a:off x="650337" y="1768415"/>
            <a:ext cx="891117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직사각형 16"/>
          <p:cNvSpPr/>
          <p:nvPr/>
        </p:nvSpPr>
        <p:spPr>
          <a:xfrm>
            <a:off x="940279" y="1449238"/>
            <a:ext cx="1069676" cy="3105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err="1" smtClean="0">
                <a:solidFill>
                  <a:schemeClr val="tx1"/>
                </a:solidFill>
                <a:latin typeface="+mj-ea"/>
                <a:ea typeface="+mj-ea"/>
              </a:rPr>
              <a:t>ㅇㅇㅇ</a:t>
            </a:r>
            <a:r>
              <a:rPr lang="en-US" altLang="ko-KR" sz="1200" b="1" dirty="0" smtClean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ko-KR" altLang="en-US" sz="1200" b="1" dirty="0" smtClean="0">
                <a:solidFill>
                  <a:schemeClr val="tx1"/>
                </a:solidFill>
                <a:latin typeface="+mj-ea"/>
                <a:ea typeface="+mj-ea"/>
              </a:rPr>
              <a:t>성분</a:t>
            </a:r>
            <a:endParaRPr lang="ko-KR" altLang="en-US" sz="12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2009955" y="1449238"/>
            <a:ext cx="1130060" cy="310551"/>
          </a:xfrm>
          <a:prstGeom prst="rect">
            <a:avLst/>
          </a:prstGeom>
          <a:noFill/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err="1" smtClean="0">
                <a:solidFill>
                  <a:schemeClr val="tx1"/>
                </a:solidFill>
                <a:latin typeface="+mj-ea"/>
                <a:ea typeface="+mj-ea"/>
              </a:rPr>
              <a:t>ㅇㅇ</a:t>
            </a:r>
            <a:r>
              <a:rPr lang="en-US" altLang="ko-KR" sz="1100" dirty="0" smtClean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+mj-ea"/>
                <a:ea typeface="+mj-ea"/>
              </a:rPr>
              <a:t>공정</a:t>
            </a:r>
            <a:r>
              <a:rPr lang="en-US" altLang="ko-KR" sz="1100" dirty="0" smtClean="0">
                <a:solidFill>
                  <a:schemeClr val="tx1"/>
                </a:solidFill>
                <a:latin typeface="+mj-ea"/>
                <a:ea typeface="+mj-ea"/>
              </a:rPr>
              <a:t>/</a:t>
            </a:r>
            <a:r>
              <a:rPr lang="ko-KR" altLang="en-US" sz="1100" dirty="0" smtClean="0">
                <a:solidFill>
                  <a:schemeClr val="tx1"/>
                </a:solidFill>
                <a:latin typeface="+mj-ea"/>
                <a:ea typeface="+mj-ea"/>
              </a:rPr>
              <a:t>검사</a:t>
            </a:r>
            <a:endParaRPr lang="ko-KR" altLang="en-US" sz="11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3140015" y="1449238"/>
            <a:ext cx="1069676" cy="310551"/>
          </a:xfrm>
          <a:prstGeom prst="rect">
            <a:avLst/>
          </a:prstGeom>
          <a:noFill/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err="1" smtClean="0">
                <a:solidFill>
                  <a:schemeClr val="tx1"/>
                </a:solidFill>
                <a:latin typeface="+mj-ea"/>
                <a:ea typeface="+mj-ea"/>
              </a:rPr>
              <a:t>ㅇㅇ</a:t>
            </a:r>
            <a:r>
              <a:rPr lang="ko-KR" altLang="en-US" sz="1100" dirty="0" smtClean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+mj-ea"/>
                <a:ea typeface="+mj-ea"/>
              </a:rPr>
              <a:t>공정</a:t>
            </a:r>
            <a:endParaRPr lang="ko-KR" altLang="en-US" sz="11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4215680" y="1449238"/>
            <a:ext cx="1069676" cy="310551"/>
          </a:xfrm>
          <a:prstGeom prst="rect">
            <a:avLst/>
          </a:prstGeom>
          <a:noFill/>
          <a:ln w="31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100" dirty="0" err="1" smtClean="0">
                <a:solidFill>
                  <a:schemeClr val="tx1"/>
                </a:solidFill>
                <a:latin typeface="+mj-ea"/>
                <a:ea typeface="+mj-ea"/>
              </a:rPr>
              <a:t>ㅇㅇ</a:t>
            </a:r>
            <a:r>
              <a:rPr lang="ko-KR" altLang="en-US" sz="1100" dirty="0" smtClean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ko-KR" altLang="en-US" sz="1100" dirty="0" smtClean="0">
                <a:solidFill>
                  <a:schemeClr val="tx1"/>
                </a:solidFill>
                <a:latin typeface="+mj-ea"/>
                <a:ea typeface="+mj-ea"/>
              </a:rPr>
              <a:t>검사</a:t>
            </a:r>
            <a:endParaRPr lang="ko-KR" altLang="en-US" sz="11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pic>
        <p:nvPicPr>
          <p:cNvPr id="21" name="그림 2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07" t="5651" r="5670"/>
          <a:stretch/>
        </p:blipFill>
        <p:spPr>
          <a:xfrm>
            <a:off x="4371556" y="2145257"/>
            <a:ext cx="1222142" cy="1887132"/>
          </a:xfrm>
          <a:prstGeom prst="rect">
            <a:avLst/>
          </a:prstGeom>
        </p:spPr>
      </p:pic>
      <p:pic>
        <p:nvPicPr>
          <p:cNvPr id="23" name="그림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0864" y="4391430"/>
            <a:ext cx="7254147" cy="1790402"/>
          </a:xfrm>
          <a:prstGeom prst="rect">
            <a:avLst/>
          </a:prstGeom>
        </p:spPr>
      </p:pic>
      <p:sp>
        <p:nvSpPr>
          <p:cNvPr id="24" name="Title 2"/>
          <p:cNvSpPr txBox="1">
            <a:spLocks/>
          </p:cNvSpPr>
          <p:nvPr/>
        </p:nvSpPr>
        <p:spPr>
          <a:xfrm>
            <a:off x="856500" y="1042047"/>
            <a:ext cx="9049500" cy="36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 sz="1400" dirty="0" err="1" smtClean="0">
                <a:latin typeface="+mj-ea"/>
              </a:rPr>
              <a:t>ㅇㅇㅇ대시보드</a:t>
            </a:r>
            <a:endParaRPr lang="ko-KR" altLang="en-US" sz="1400" dirty="0">
              <a:latin typeface="+mj-ea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796986" y="759125"/>
            <a:ext cx="8598025" cy="28292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1100" dirty="0" smtClean="0">
                <a:solidFill>
                  <a:schemeClr val="tx1"/>
                </a:solidFill>
              </a:rPr>
              <a:t>https://</a:t>
            </a:r>
            <a:r>
              <a:rPr lang="en-US" altLang="ko-KR" sz="1100" dirty="0" smtClean="0">
                <a:solidFill>
                  <a:schemeClr val="tx1"/>
                </a:solidFill>
              </a:rPr>
              <a:t>1</a:t>
            </a:r>
            <a:r>
              <a:rPr lang="ko-KR" altLang="en-US" sz="1100" dirty="0" err="1" smtClean="0">
                <a:solidFill>
                  <a:schemeClr val="tx1"/>
                </a:solidFill>
              </a:rPr>
              <a:t>ㅇㅇㅇ</a:t>
            </a:r>
            <a:r>
              <a:rPr lang="en-US" altLang="ko-KR" sz="1100" dirty="0" smtClean="0">
                <a:solidFill>
                  <a:schemeClr val="tx1"/>
                </a:solidFill>
              </a:rPr>
              <a:t>/</a:t>
            </a:r>
            <a:r>
              <a:rPr lang="ko-KR" altLang="en-US" sz="1100" dirty="0" err="1" smtClean="0">
                <a:solidFill>
                  <a:schemeClr val="tx1"/>
                </a:solidFill>
              </a:rPr>
              <a:t>ㅇㅇㅇ</a:t>
            </a:r>
            <a:endParaRPr lang="ko-KR" altLang="en-US" sz="1100" dirty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9261" y="2177970"/>
            <a:ext cx="23463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 err="1" smtClean="0">
                <a:latin typeface="+mj-ea"/>
                <a:ea typeface="+mj-ea"/>
              </a:rPr>
              <a:t>ㅇㅇ</a:t>
            </a:r>
            <a:r>
              <a:rPr lang="en-US" altLang="ko-KR" sz="1400" dirty="0" smtClean="0">
                <a:latin typeface="+mj-ea"/>
                <a:ea typeface="+mj-ea"/>
              </a:rPr>
              <a:t>-</a:t>
            </a:r>
            <a:r>
              <a:rPr lang="en-US" altLang="ko-KR" sz="1400" dirty="0" smtClean="0">
                <a:latin typeface="+mj-ea"/>
                <a:ea typeface="+mj-ea"/>
              </a:rPr>
              <a:t>01-01 ~ </a:t>
            </a:r>
            <a:r>
              <a:rPr lang="ko-KR" altLang="en-US" sz="1400" dirty="0" err="1" smtClean="0">
                <a:latin typeface="+mj-ea"/>
                <a:ea typeface="+mj-ea"/>
              </a:rPr>
              <a:t>ㅇㅇ</a:t>
            </a:r>
            <a:r>
              <a:rPr lang="en-US" altLang="ko-KR" sz="1400" dirty="0" smtClean="0">
                <a:latin typeface="+mj-ea"/>
                <a:ea typeface="+mj-ea"/>
              </a:rPr>
              <a:t>-</a:t>
            </a:r>
            <a:r>
              <a:rPr lang="en-US" altLang="ko-KR" sz="1400" dirty="0" smtClean="0">
                <a:latin typeface="+mj-ea"/>
                <a:ea typeface="+mj-ea"/>
              </a:rPr>
              <a:t>07-01</a:t>
            </a:r>
            <a:endParaRPr lang="ko-KR" altLang="en-US" sz="1400" dirty="0">
              <a:latin typeface="+mj-ea"/>
              <a:ea typeface="+mj-ea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1873518" y="2177970"/>
            <a:ext cx="2344871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8" name="TextBox 27"/>
          <p:cNvSpPr txBox="1"/>
          <p:nvPr/>
        </p:nvSpPr>
        <p:spPr>
          <a:xfrm>
            <a:off x="2057854" y="1837480"/>
            <a:ext cx="7943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 smtClean="0"/>
              <a:t>시작일</a:t>
            </a:r>
            <a:endParaRPr lang="ko-KR" altLang="en-US" sz="14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3214705" y="1837480"/>
            <a:ext cx="7943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 smtClean="0"/>
              <a:t>종료일</a:t>
            </a:r>
            <a:endParaRPr lang="ko-KR" altLang="en-US" sz="14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4724594" y="1841420"/>
            <a:ext cx="5425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 smtClean="0"/>
              <a:t>분포</a:t>
            </a:r>
            <a:endParaRPr lang="ko-KR" altLang="en-US" sz="12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6254436" y="1830110"/>
            <a:ext cx="7943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 smtClean="0"/>
              <a:t>기초통계</a:t>
            </a:r>
            <a:endParaRPr lang="ko-KR" altLang="en-US" sz="12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8162961" y="1837480"/>
            <a:ext cx="7943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200" b="1" dirty="0" smtClean="0"/>
              <a:t>산포도</a:t>
            </a:r>
            <a:endParaRPr lang="ko-KR" altLang="en-US" sz="1200" b="1" dirty="0"/>
          </a:p>
        </p:txBody>
      </p:sp>
      <p:sp>
        <p:nvSpPr>
          <p:cNvPr id="33" name="직사각형 32"/>
          <p:cNvSpPr/>
          <p:nvPr/>
        </p:nvSpPr>
        <p:spPr>
          <a:xfrm>
            <a:off x="7487728" y="2114479"/>
            <a:ext cx="1984076" cy="193439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4" name="덧셈 기호 33"/>
          <p:cNvSpPr/>
          <p:nvPr/>
        </p:nvSpPr>
        <p:spPr>
          <a:xfrm>
            <a:off x="8249225" y="2855373"/>
            <a:ext cx="454828" cy="452357"/>
          </a:xfrm>
          <a:prstGeom prst="mathPlus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6" name="직사각형 35">
            <a:hlinkClick r:id="rId4" action="ppaction://hlinksldjump"/>
          </p:cNvPr>
          <p:cNvSpPr/>
          <p:nvPr/>
        </p:nvSpPr>
        <p:spPr>
          <a:xfrm>
            <a:off x="9023838" y="284285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smtClean="0">
                <a:solidFill>
                  <a:schemeClr val="tx1"/>
                </a:solidFill>
              </a:rPr>
              <a:t>돌아가기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071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2. </a:t>
            </a:r>
            <a:r>
              <a:rPr lang="ko-KR" altLang="en-US">
                <a:latin typeface="+mj-ea"/>
              </a:rPr>
              <a:t>데이터 </a:t>
            </a:r>
            <a:r>
              <a:rPr lang="ko-KR" altLang="en-US" smtClean="0">
                <a:latin typeface="+mj-ea"/>
              </a:rPr>
              <a:t>레디니스</a:t>
            </a:r>
            <a:r>
              <a:rPr lang="en-US" altLang="ko-KR" dirty="0" smtClean="0">
                <a:latin typeface="+mj-ea"/>
              </a:rPr>
              <a:t> </a:t>
            </a:r>
            <a:r>
              <a:rPr lang="ko-KR" altLang="en-US" smtClean="0">
                <a:latin typeface="+mj-ea"/>
              </a:rPr>
              <a:t>과제 개요</a:t>
            </a:r>
            <a:endParaRPr lang="en-US" altLang="ko-KR" dirty="0">
              <a:latin typeface="+mj-ea"/>
            </a:endParaRPr>
          </a:p>
        </p:txBody>
      </p:sp>
      <p:sp>
        <p:nvSpPr>
          <p:cNvPr id="190" name="직사각형 189"/>
          <p:cNvSpPr/>
          <p:nvPr/>
        </p:nvSpPr>
        <p:spPr>
          <a:xfrm>
            <a:off x="449383" y="1318934"/>
            <a:ext cx="4210540" cy="3087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현재 확보 데이터로 분석 가설 검증 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10" name="그룹 9"/>
          <p:cNvGrpSpPr/>
          <p:nvPr/>
        </p:nvGrpSpPr>
        <p:grpSpPr>
          <a:xfrm>
            <a:off x="689205" y="3437221"/>
            <a:ext cx="3738865" cy="858839"/>
            <a:chOff x="927330" y="2694507"/>
            <a:chExt cx="3738865" cy="1143115"/>
          </a:xfrm>
        </p:grpSpPr>
        <p:sp>
          <p:nvSpPr>
            <p:cNvPr id="218" name="직사각형 217"/>
            <p:cNvSpPr/>
            <p:nvPr/>
          </p:nvSpPr>
          <p:spPr>
            <a:xfrm>
              <a:off x="927330" y="3008795"/>
              <a:ext cx="958951" cy="465435"/>
            </a:xfrm>
            <a:prstGeom prst="rect">
              <a:avLst/>
            </a:prstGeom>
            <a:solidFill>
              <a:sysClr val="window" lastClr="FFFFFF"/>
            </a:solidFill>
            <a:ln w="6350" algn="ctr">
              <a:solidFill>
                <a:sysClr val="windowText" lastClr="000000">
                  <a:lumMod val="50000"/>
                  <a:lumOff val="50000"/>
                </a:sys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844083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kern="0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이번 과제 수행</a:t>
              </a:r>
              <a:endParaRPr kumimoji="0" lang="ko-KR" altLang="en-US" sz="10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</a:endParaRPr>
            </a:p>
          </p:txBody>
        </p:sp>
        <p:grpSp>
          <p:nvGrpSpPr>
            <p:cNvPr id="2" name="그룹 1"/>
            <p:cNvGrpSpPr/>
            <p:nvPr/>
          </p:nvGrpSpPr>
          <p:grpSpPr>
            <a:xfrm>
              <a:off x="3505864" y="2742618"/>
              <a:ext cx="1160331" cy="1036935"/>
              <a:chOff x="3498329" y="2742618"/>
              <a:chExt cx="1404000" cy="1036935"/>
            </a:xfrm>
          </p:grpSpPr>
          <p:sp>
            <p:nvSpPr>
              <p:cNvPr id="219" name="직사각형 218"/>
              <p:cNvSpPr/>
              <p:nvPr/>
            </p:nvSpPr>
            <p:spPr>
              <a:xfrm>
                <a:off x="3498329" y="3314118"/>
                <a:ext cx="1404000" cy="465435"/>
              </a:xfrm>
              <a:prstGeom prst="rect">
                <a:avLst/>
              </a:prstGeom>
              <a:solidFill>
                <a:sysClr val="window" lastClr="FFFFFF"/>
              </a:solidFill>
              <a:ln w="6350" algn="ctr">
                <a:solidFill>
                  <a:sysClr val="windowText" lastClr="000000">
                    <a:lumMod val="50000"/>
                    <a:lumOff val="50000"/>
                  </a:sysClr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844083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</a:rPr>
                  <a:t>분석 과제 도출</a:t>
                </a:r>
                <a:r>
                  <a:rPr kumimoji="0" lang="en-US" altLang="ko-KR" sz="10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</a:rPr>
                  <a:t> </a:t>
                </a:r>
              </a:p>
            </p:txBody>
          </p:sp>
          <p:sp>
            <p:nvSpPr>
              <p:cNvPr id="220" name="직사각형 219"/>
              <p:cNvSpPr/>
              <p:nvPr/>
            </p:nvSpPr>
            <p:spPr>
              <a:xfrm>
                <a:off x="3498329" y="2742618"/>
                <a:ext cx="1404000" cy="465435"/>
              </a:xfrm>
              <a:prstGeom prst="rect">
                <a:avLst/>
              </a:prstGeom>
              <a:solidFill>
                <a:sysClr val="window" lastClr="FFFFFF"/>
              </a:solidFill>
              <a:ln w="6350" algn="ctr">
                <a:solidFill>
                  <a:sysClr val="windowText" lastClr="000000">
                    <a:lumMod val="50000"/>
                    <a:lumOff val="50000"/>
                  </a:sysClr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844083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0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</a:rPr>
                  <a:t>데이터</a:t>
                </a:r>
                <a:r>
                  <a:rPr kumimoji="0" lang="en-US" altLang="ko-KR" sz="10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</a:rPr>
                  <a:t> </a:t>
                </a:r>
                <a:r>
                  <a:rPr kumimoji="0" lang="ko-KR" altLang="en-US" sz="10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 panose="020B0503020000020004" pitchFamily="50" charset="-127"/>
                  </a:rPr>
                  <a:t>추가 수집</a:t>
                </a:r>
                <a:endParaRPr kumimoji="0" lang="en-US" altLang="ko-KR" sz="100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</a:endParaRPr>
              </a:p>
            </p:txBody>
          </p:sp>
        </p:grpSp>
        <p:sp>
          <p:nvSpPr>
            <p:cNvPr id="222" name="순서도: 판단 221"/>
            <p:cNvSpPr/>
            <p:nvPr/>
          </p:nvSpPr>
          <p:spPr bwMode="auto">
            <a:xfrm>
              <a:off x="2127736" y="2974445"/>
              <a:ext cx="990289" cy="533686"/>
            </a:xfrm>
            <a:prstGeom prst="flowChartDecision">
              <a:avLst/>
            </a:prstGeom>
            <a:solidFill>
              <a:srgbClr val="FFFFFF"/>
            </a:solidFill>
            <a:ln w="9525" algn="ctr">
              <a:solidFill>
                <a:srgbClr val="000000">
                  <a:lumMod val="50000"/>
                  <a:lumOff val="50000"/>
                </a:srgbClr>
              </a:solidFill>
              <a:round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62025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0000"/>
                </a:buClr>
                <a:buSzPct val="115000"/>
                <a:buFontTx/>
                <a:buChar char="•"/>
                <a:tabLst/>
                <a:defRPr/>
              </a:pP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3" name="직사각형 222"/>
            <p:cNvSpPr/>
            <p:nvPr/>
          </p:nvSpPr>
          <p:spPr>
            <a:xfrm>
              <a:off x="2202744" y="3066640"/>
              <a:ext cx="873957" cy="226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</a:rPr>
                <a:t>주어진 데이터 </a:t>
              </a:r>
              <a:endParaRPr kumimoji="1" lang="en-US" altLang="ko-K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</a:endParaRPr>
            </a:p>
            <a:p>
              <a:pPr marL="0" marR="0" lvl="0" indent="0" algn="ctr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ko-KR" alt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</a:rPr>
                <a:t>부족</a:t>
              </a:r>
              <a:r>
                <a:rPr kumimoji="1" lang="en-US" altLang="ko-KR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</a:rPr>
                <a:t>?</a:t>
              </a:r>
              <a:endParaRPr kumimoji="0" lang="ko-KR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cxnSp>
          <p:nvCxnSpPr>
            <p:cNvPr id="224" name="직선 연결선 223"/>
            <p:cNvCxnSpPr>
              <a:stCxn id="218" idx="3"/>
              <a:endCxn id="222" idx="1"/>
            </p:cNvCxnSpPr>
            <p:nvPr/>
          </p:nvCxnSpPr>
          <p:spPr bwMode="auto">
            <a:xfrm flipV="1">
              <a:off x="1886281" y="3241288"/>
              <a:ext cx="241455" cy="225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5" name="꺾인 연결선 224"/>
            <p:cNvCxnSpPr>
              <a:stCxn id="222" idx="3"/>
              <a:endCxn id="219" idx="1"/>
            </p:cNvCxnSpPr>
            <p:nvPr/>
          </p:nvCxnSpPr>
          <p:spPr bwMode="auto">
            <a:xfrm>
              <a:off x="3118025" y="3241288"/>
              <a:ext cx="387839" cy="305548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6" name="꺾인 연결선 225"/>
            <p:cNvCxnSpPr>
              <a:stCxn id="222" idx="3"/>
              <a:endCxn id="220" idx="1"/>
            </p:cNvCxnSpPr>
            <p:nvPr/>
          </p:nvCxnSpPr>
          <p:spPr bwMode="auto">
            <a:xfrm flipV="1">
              <a:off x="3118025" y="2975336"/>
              <a:ext cx="387839" cy="265952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28" name="직사각형 227"/>
            <p:cNvSpPr/>
            <p:nvPr/>
          </p:nvSpPr>
          <p:spPr>
            <a:xfrm>
              <a:off x="3108443" y="2694507"/>
              <a:ext cx="381836" cy="1648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8440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B0503020000020004" pitchFamily="50" charset="-127"/>
                </a:rPr>
                <a:t>Yes</a:t>
              </a:r>
              <a:endParaRPr kumimoji="0" lang="ko-K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9" name="직사각형 228"/>
            <p:cNvSpPr/>
            <p:nvPr/>
          </p:nvSpPr>
          <p:spPr>
            <a:xfrm>
              <a:off x="3117584" y="3591401"/>
              <a:ext cx="359394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844083" latinLnBrk="0">
                <a:defRPr/>
              </a:pPr>
              <a:r>
                <a:rPr kumimoji="1" lang="en-US" altLang="ko-KR" sz="1000" kern="0" dirty="0">
                  <a:solidFill>
                    <a:prstClr val="black"/>
                  </a:solidFill>
                  <a:latin typeface="맑은 고딕" panose="020B0503020000020004" pitchFamily="50" charset="-127"/>
                </a:rPr>
                <a:t>No</a:t>
              </a:r>
              <a:endParaRPr kumimoji="1" lang="ko-KR" altLang="en-US" sz="1000" kern="0" dirty="0">
                <a:solidFill>
                  <a:prstClr val="black"/>
                </a:solidFill>
                <a:latin typeface="맑은 고딕" panose="020B0503020000020004" pitchFamily="50" charset="-127"/>
              </a:endParaRPr>
            </a:p>
          </p:txBody>
        </p:sp>
      </p:grpSp>
      <p:sp>
        <p:nvSpPr>
          <p:cNvPr id="245" name="TextBox 244"/>
          <p:cNvSpPr txBox="1"/>
          <p:nvPr/>
        </p:nvSpPr>
        <p:spPr>
          <a:xfrm>
            <a:off x="5226672" y="1251672"/>
            <a:ext cx="4433152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그룹내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 분석 경험 풍부한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전문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분석 인력 수행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46" name="TextBox 245"/>
          <p:cNvSpPr txBox="1"/>
          <p:nvPr/>
        </p:nvSpPr>
        <p:spPr>
          <a:xfrm>
            <a:off x="5234231" y="4506116"/>
            <a:ext cx="4433152" cy="3391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ㅇ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369639" y="4383216"/>
            <a:ext cx="4539239" cy="1963497"/>
            <a:chOff x="5151189" y="1306641"/>
            <a:chExt cx="4539239" cy="1963497"/>
          </a:xfrm>
        </p:grpSpPr>
        <p:sp>
          <p:nvSpPr>
            <p:cNvPr id="235" name="오각형 234"/>
            <p:cNvSpPr/>
            <p:nvPr/>
          </p:nvSpPr>
          <p:spPr bwMode="auto">
            <a:xfrm>
              <a:off x="8229600" y="1963496"/>
              <a:ext cx="800101" cy="433908"/>
            </a:xfrm>
            <a:prstGeom prst="homePlate">
              <a:avLst>
                <a:gd name="adj" fmla="val 17655"/>
              </a:avLst>
            </a:prstGeom>
            <a:solidFill>
              <a:srgbClr val="E7E6E6">
                <a:lumMod val="50000"/>
              </a:srgbClr>
            </a:solidFill>
            <a:ln w="9525" algn="ctr">
              <a:solidFill>
                <a:srgbClr val="1E1E1E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616365"/>
              </a:outerShdw>
            </a:effectLst>
            <a:extLst/>
          </p:spPr>
          <p:txBody>
            <a:bodyPr lIns="0" tIns="0" rIns="0" bIns="0" anchor="ctr"/>
            <a:lstStyle/>
            <a:p>
              <a:pPr algn="ctr" defTabSz="953628">
                <a:lnSpc>
                  <a:spcPct val="104000"/>
                </a:lnSpc>
                <a:defRPr/>
              </a:pPr>
              <a:r>
                <a:rPr kumimoji="1" lang="ko-KR" altLang="en-US" sz="1000" b="1" kern="0" dirty="0" smtClean="0">
                  <a:solidFill>
                    <a:srgbClr val="FFFFFF"/>
                  </a:solidFill>
                  <a:latin typeface="맑은 고딕" panose="020B0503020000020004" pitchFamily="50" charset="-127"/>
                </a:rPr>
                <a:t>불량</a:t>
              </a:r>
              <a:endParaRPr kumimoji="1" lang="en-US" altLang="ko-KR" sz="1000" b="1" kern="0" dirty="0" smtClean="0">
                <a:solidFill>
                  <a:srgbClr val="FFFFFF"/>
                </a:solidFill>
                <a:latin typeface="맑은 고딕" panose="020B0503020000020004" pitchFamily="50" charset="-127"/>
              </a:endParaRPr>
            </a:p>
            <a:p>
              <a:pPr algn="ctr" defTabSz="953628">
                <a:lnSpc>
                  <a:spcPct val="104000"/>
                </a:lnSpc>
                <a:defRPr/>
              </a:pPr>
              <a:r>
                <a:rPr kumimoji="1" lang="ko-KR" altLang="en-US" sz="1000" b="1" kern="0" smtClean="0">
                  <a:solidFill>
                    <a:srgbClr val="FFFFFF"/>
                  </a:solidFill>
                  <a:latin typeface="맑은 고딕" panose="020B0503020000020004" pitchFamily="50" charset="-127"/>
                </a:rPr>
                <a:t>원인 분석</a:t>
              </a:r>
              <a:endParaRPr kumimoji="1" lang="en-US" altLang="ko-KR" sz="1000" b="1" kern="0" dirty="0" smtClean="0">
                <a:solidFill>
                  <a:srgbClr val="FFFFFF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36" name="오각형 235"/>
            <p:cNvSpPr/>
            <p:nvPr/>
          </p:nvSpPr>
          <p:spPr bwMode="auto">
            <a:xfrm>
              <a:off x="6871410" y="1963496"/>
              <a:ext cx="1329615" cy="433908"/>
            </a:xfrm>
            <a:prstGeom prst="homePlate">
              <a:avLst>
                <a:gd name="adj" fmla="val 17655"/>
              </a:avLst>
            </a:prstGeom>
            <a:solidFill>
              <a:srgbClr val="E7E6E6">
                <a:lumMod val="50000"/>
              </a:srgbClr>
            </a:solidFill>
            <a:ln w="9525" algn="ctr">
              <a:solidFill>
                <a:srgbClr val="1E1E1E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616365"/>
              </a:outerShdw>
            </a:effectLst>
            <a:extLst/>
          </p:spPr>
          <p:txBody>
            <a:bodyPr lIns="0" tIns="0" rIns="0" bIns="0" anchor="ctr"/>
            <a:lstStyle/>
            <a:p>
              <a:pPr algn="ctr" defTabSz="953628">
                <a:lnSpc>
                  <a:spcPct val="104000"/>
                </a:lnSpc>
                <a:defRPr/>
              </a:pPr>
              <a:r>
                <a:rPr kumimoji="1" lang="ko-KR" altLang="en-US" sz="1000" b="1" kern="0" dirty="0" smtClean="0">
                  <a:solidFill>
                    <a:srgbClr val="FFFFFF"/>
                  </a:solidFill>
                  <a:latin typeface="맑은 고딕" panose="020B0503020000020004" pitchFamily="50" charset="-127"/>
                </a:rPr>
                <a:t>탐색적 분석</a:t>
              </a:r>
              <a:endParaRPr kumimoji="1" lang="en-US" altLang="ko-KR" sz="1000" b="1" kern="0" dirty="0" smtClean="0">
                <a:solidFill>
                  <a:srgbClr val="FFFFFF"/>
                </a:solidFill>
                <a:latin typeface="맑은 고딕" panose="020B0503020000020004" pitchFamily="50" charset="-127"/>
              </a:endParaRPr>
            </a:p>
          </p:txBody>
        </p:sp>
        <p:sp>
          <p:nvSpPr>
            <p:cNvPr id="237" name="오각형 236"/>
            <p:cNvSpPr/>
            <p:nvPr/>
          </p:nvSpPr>
          <p:spPr bwMode="auto">
            <a:xfrm>
              <a:off x="5460432" y="1955561"/>
              <a:ext cx="1400950" cy="433908"/>
            </a:xfrm>
            <a:prstGeom prst="homePlate">
              <a:avLst>
                <a:gd name="adj" fmla="val 17655"/>
              </a:avLst>
            </a:prstGeom>
            <a:solidFill>
              <a:srgbClr val="E7E6E6">
                <a:lumMod val="50000"/>
              </a:srgbClr>
            </a:solidFill>
            <a:ln w="9525" algn="ctr">
              <a:solidFill>
                <a:srgbClr val="1E1E1E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616365"/>
              </a:outerShdw>
            </a:effectLst>
            <a:extLst/>
          </p:spPr>
          <p:txBody>
            <a:bodyPr lIns="0" tIns="0" rIns="0" bIns="0" anchor="ctr"/>
            <a:lstStyle/>
            <a:p>
              <a:pPr algn="ctr" defTabSz="953628">
                <a:lnSpc>
                  <a:spcPct val="104000"/>
                </a:lnSpc>
                <a:defRPr/>
              </a:pPr>
              <a:r>
                <a:rPr kumimoji="1" lang="ko-KR" altLang="en-US" sz="1000" b="1" kern="0" dirty="0" smtClean="0">
                  <a:solidFill>
                    <a:srgbClr val="FFFFFF"/>
                  </a:solidFill>
                  <a:latin typeface="맑은 고딕" panose="020B0503020000020004" pitchFamily="50" charset="-127"/>
                </a:rPr>
                <a:t>요구사항 파악 및</a:t>
              </a:r>
              <a:endParaRPr kumimoji="1" lang="en-US" altLang="ko-KR" sz="1000" b="1" kern="0" dirty="0" smtClean="0">
                <a:solidFill>
                  <a:srgbClr val="FFFFFF"/>
                </a:solidFill>
                <a:latin typeface="맑은 고딕" panose="020B0503020000020004" pitchFamily="50" charset="-127"/>
              </a:endParaRPr>
            </a:p>
            <a:p>
              <a:pPr algn="ctr" defTabSz="953628">
                <a:lnSpc>
                  <a:spcPct val="104000"/>
                </a:lnSpc>
                <a:defRPr/>
              </a:pPr>
              <a:r>
                <a:rPr kumimoji="1" lang="ko-KR" altLang="en-US" sz="1000" b="1" kern="0" dirty="0" smtClean="0">
                  <a:solidFill>
                    <a:srgbClr val="FFFFFF"/>
                  </a:solidFill>
                  <a:latin typeface="맑은 고딕" panose="020B0503020000020004" pitchFamily="50" charset="-127"/>
                </a:rPr>
                <a:t>데이터 연결</a:t>
              </a:r>
            </a:p>
          </p:txBody>
        </p:sp>
        <p:cxnSp>
          <p:nvCxnSpPr>
            <p:cNvPr id="3" name="직선 화살표 연결선 2"/>
            <p:cNvCxnSpPr/>
            <p:nvPr/>
          </p:nvCxnSpPr>
          <p:spPr>
            <a:xfrm>
              <a:off x="5284186" y="1836912"/>
              <a:ext cx="4202723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타원 3"/>
            <p:cNvSpPr>
              <a:spLocks noChangeAspect="1"/>
            </p:cNvSpPr>
            <p:nvPr/>
          </p:nvSpPr>
          <p:spPr>
            <a:xfrm>
              <a:off x="5354524" y="1769613"/>
              <a:ext cx="131885" cy="140159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8" name="타원 237"/>
            <p:cNvSpPr>
              <a:spLocks noChangeAspect="1"/>
            </p:cNvSpPr>
            <p:nvPr/>
          </p:nvSpPr>
          <p:spPr>
            <a:xfrm>
              <a:off x="7168670" y="1769613"/>
              <a:ext cx="131885" cy="140159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9" name="타원 238"/>
            <p:cNvSpPr>
              <a:spLocks noChangeAspect="1"/>
            </p:cNvSpPr>
            <p:nvPr/>
          </p:nvSpPr>
          <p:spPr>
            <a:xfrm>
              <a:off x="8982816" y="1769613"/>
              <a:ext cx="131885" cy="140159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0" name="Rectangle 3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483371" y="2504488"/>
              <a:ext cx="1566604" cy="7617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ko-KR"/>
              </a:defPPr>
              <a:lvl1pPr marL="342900" indent="-342900" defTabSz="936625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latin typeface="+mj-lt"/>
                  <a:ea typeface="+mj-ea"/>
                </a:defRPr>
              </a:lvl1pPr>
              <a:lvl2pPr marL="176213" lvl="1" indent="-174625" defTabSz="936625" eaLnBrk="0" fontAlgn="base" latinLnBrk="0" hangingPunct="0">
                <a:spcBef>
                  <a:spcPts val="200"/>
                </a:spcBef>
                <a:spcAft>
                  <a:spcPts val="100"/>
                </a:spcAft>
                <a:buChar char="•"/>
                <a:defRPr kumimoji="1" sz="1100">
                  <a:solidFill>
                    <a:srgbClr val="000000"/>
                  </a:solidFill>
                  <a:latin typeface="+mn-ea"/>
                </a:defRPr>
              </a:lvl2pPr>
              <a:lvl3pPr marL="209550" indent="-103188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–"/>
                <a:defRPr kumimoji="1" sz="1300"/>
              </a:lvl3pPr>
              <a:lvl4pPr marL="314325" indent="-103188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·"/>
                <a:defRPr kumimoji="1" sz="1300"/>
              </a:lvl4pPr>
              <a:lvl5pPr marL="420688" indent="-98425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›"/>
                <a:defRPr kumimoji="1" sz="1300"/>
              </a:lvl5pPr>
              <a:lvl6pPr marL="8778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6pPr>
              <a:lvl7pPr marL="13350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7pPr>
              <a:lvl8pPr marL="17922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8pPr>
              <a:lvl9pPr marL="22494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9pPr>
            </a:lstStyle>
            <a:p>
              <a:pPr marL="85725" lvl="1" indent="-84138">
                <a:buClrTx/>
                <a:buSzTx/>
              </a:pPr>
              <a:r>
                <a:rPr lang="ko-KR" altLang="en-US" sz="105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요구사항 확인</a:t>
              </a:r>
              <a:endPara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5725" lvl="1" indent="-84138" algn="l">
                <a:buClrTx/>
                <a:buSzTx/>
              </a:pPr>
              <a:r>
                <a:rPr lang="ko-KR" altLang="en-US" sz="1050" dirty="0" smtClean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 현황 파악</a:t>
              </a:r>
              <a:endParaRPr lang="en-US" altLang="ko-KR" sz="1050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5725" lvl="1" indent="-84138"/>
              <a:r>
                <a:rPr lang="ko-KR" altLang="en-US" sz="1050" dirty="0">
                  <a:latin typeface="+mj-ea"/>
                </a:rPr>
                <a:t>데이터 전처리 </a:t>
              </a:r>
              <a:endParaRPr lang="en-US" altLang="ko-KR" sz="1050" dirty="0" smtClean="0">
                <a:latin typeface="+mj-ea"/>
              </a:endParaRPr>
            </a:p>
            <a:p>
              <a:pPr marL="85725" lvl="1" indent="-84138"/>
              <a:r>
                <a:rPr lang="ko-KR" altLang="en-US" sz="1050" dirty="0" smtClean="0">
                  <a:latin typeface="+mj-ea"/>
                </a:rPr>
                <a:t>데이터 연결</a:t>
              </a:r>
              <a:endParaRPr lang="en-US" altLang="ko-KR" sz="1050" dirty="0" smtClean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1" name="Rectangle 3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917250" y="2508391"/>
              <a:ext cx="1331400" cy="7617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ko-KR"/>
              </a:defPPr>
              <a:lvl1pPr marL="342900" indent="-342900" defTabSz="936625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latin typeface="+mj-lt"/>
                  <a:ea typeface="+mj-ea"/>
                </a:defRPr>
              </a:lvl1pPr>
              <a:lvl2pPr marL="176213" lvl="1" indent="-174625" defTabSz="936625" eaLnBrk="0" fontAlgn="base" latinLnBrk="0" hangingPunct="0">
                <a:spcBef>
                  <a:spcPts val="200"/>
                </a:spcBef>
                <a:spcAft>
                  <a:spcPts val="100"/>
                </a:spcAft>
                <a:buChar char="•"/>
                <a:defRPr kumimoji="1" sz="1100">
                  <a:solidFill>
                    <a:srgbClr val="000000"/>
                  </a:solidFill>
                  <a:latin typeface="+mn-ea"/>
                </a:defRPr>
              </a:lvl2pPr>
              <a:lvl3pPr marL="209550" indent="-103188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–"/>
                <a:defRPr kumimoji="1" sz="1300"/>
              </a:lvl3pPr>
              <a:lvl4pPr marL="314325" indent="-103188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·"/>
                <a:defRPr kumimoji="1" sz="1300"/>
              </a:lvl4pPr>
              <a:lvl5pPr marL="420688" indent="-98425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›"/>
                <a:defRPr kumimoji="1" sz="1300"/>
              </a:lvl5pPr>
              <a:lvl6pPr marL="8778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6pPr>
              <a:lvl7pPr marL="13350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7pPr>
              <a:lvl8pPr marL="17922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8pPr>
              <a:lvl9pPr marL="22494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9pPr>
            </a:lstStyle>
            <a:p>
              <a:pPr marL="85725" lvl="1" indent="-84138"/>
              <a:r>
                <a:rPr lang="ko-KR" altLang="en-US" sz="105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초 통계 분석 </a:t>
              </a:r>
              <a:endPara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5725" lvl="1" indent="-84138"/>
              <a:r>
                <a:rPr lang="ko-KR" altLang="en-US" sz="1050" dirty="0" err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시계열</a:t>
              </a:r>
              <a:r>
                <a:rPr lang="ko-KR" altLang="en-US" sz="105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분석</a:t>
              </a:r>
              <a:endPara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5725" lvl="1" indent="-84138"/>
              <a:r>
                <a:rPr lang="en-US" altLang="ko-KR" sz="105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X</a:t>
              </a:r>
              <a:r>
                <a:rPr lang="ko-KR" altLang="en-US" sz="105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인자간 상관분석</a:t>
              </a:r>
              <a:endPara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5725" lvl="1" indent="-84138"/>
              <a:r>
                <a:rPr lang="en-US" altLang="ko-KR" sz="105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X,Y </a:t>
              </a:r>
              <a:r>
                <a:rPr lang="ko-KR" altLang="en-US" sz="105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상관 분석</a:t>
              </a:r>
              <a:endPara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2" name="Rectangle 3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8226572" y="2521821"/>
              <a:ext cx="1460353" cy="5616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ko-KR"/>
              </a:defPPr>
              <a:lvl1pPr marL="342900" indent="-342900" defTabSz="936625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>
                  <a:latin typeface="+mj-lt"/>
                  <a:ea typeface="+mj-ea"/>
                </a:defRPr>
              </a:lvl1pPr>
              <a:lvl2pPr marL="176213" lvl="1" indent="-174625" defTabSz="936625" eaLnBrk="0" fontAlgn="base" latinLnBrk="0" hangingPunct="0">
                <a:spcBef>
                  <a:spcPts val="200"/>
                </a:spcBef>
                <a:spcAft>
                  <a:spcPts val="100"/>
                </a:spcAft>
                <a:buChar char="•"/>
                <a:defRPr kumimoji="1" sz="1100">
                  <a:solidFill>
                    <a:srgbClr val="000000"/>
                  </a:solidFill>
                  <a:latin typeface="+mn-ea"/>
                </a:defRPr>
              </a:lvl2pPr>
              <a:lvl3pPr marL="209550" indent="-103188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–"/>
                <a:defRPr kumimoji="1" sz="1300"/>
              </a:lvl3pPr>
              <a:lvl4pPr marL="314325" indent="-103188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·"/>
                <a:defRPr kumimoji="1" sz="1300"/>
              </a:lvl4pPr>
              <a:lvl5pPr marL="420688" indent="-98425" defTabSz="936625" eaLnBrk="0" fontAlgn="base" hangingPunct="0">
                <a:spcBef>
                  <a:spcPct val="0"/>
                </a:spcBef>
                <a:spcAft>
                  <a:spcPct val="0"/>
                </a:spcAft>
                <a:buChar char="›"/>
                <a:defRPr kumimoji="1" sz="1300"/>
              </a:lvl5pPr>
              <a:lvl6pPr marL="8778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6pPr>
              <a:lvl7pPr marL="13350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7pPr>
              <a:lvl8pPr marL="17922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8pPr>
              <a:lvl9pPr marL="2249488" indent="-98425" defTabSz="936625" fontAlgn="base">
                <a:spcBef>
                  <a:spcPct val="0"/>
                </a:spcBef>
                <a:spcAft>
                  <a:spcPct val="0"/>
                </a:spcAft>
                <a:buChar char="›"/>
                <a:defRPr kumimoji="1" sz="1200"/>
              </a:lvl9pPr>
            </a:lstStyle>
            <a:p>
              <a:pPr marL="85725" lvl="1" indent="-84138">
                <a:buClrTx/>
                <a:buSzTx/>
              </a:pPr>
              <a:r>
                <a:rPr lang="ko-KR" altLang="en-US" sz="105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예측 모델 개발</a:t>
              </a:r>
              <a:endPara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5725" lvl="1" indent="-84138">
                <a:buClrTx/>
                <a:buSzTx/>
              </a:pPr>
              <a:r>
                <a:rPr lang="ko-KR" altLang="en-US" sz="105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효 변수 확인</a:t>
              </a:r>
              <a:endPara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85725" lvl="1" indent="-84138">
                <a:buClrTx/>
                <a:buSzTx/>
              </a:pPr>
              <a:r>
                <a:rPr lang="ko-KR" altLang="en-US" sz="105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향후 발전 방향 제시</a:t>
              </a:r>
              <a:endPara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" name="직사각형 5"/>
            <p:cNvSpPr/>
            <p:nvPr/>
          </p:nvSpPr>
          <p:spPr>
            <a:xfrm>
              <a:off x="6068259" y="1559880"/>
              <a:ext cx="393056" cy="30342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050" dirty="0" smtClean="0">
                  <a:latin typeface="+mn-ea"/>
                </a:rPr>
                <a:t>6</a:t>
              </a:r>
              <a:r>
                <a:rPr lang="ko-KR" altLang="en-US" sz="1050" smtClean="0">
                  <a:latin typeface="+mn-ea"/>
                </a:rPr>
                <a:t>월</a:t>
              </a:r>
              <a:endParaRPr lang="ko-KR" altLang="en-US" sz="1050">
                <a:latin typeface="+mn-ea"/>
              </a:endParaRPr>
            </a:p>
          </p:txBody>
        </p:sp>
        <p:sp>
          <p:nvSpPr>
            <p:cNvPr id="243" name="직사각형 242"/>
            <p:cNvSpPr/>
            <p:nvPr/>
          </p:nvSpPr>
          <p:spPr>
            <a:xfrm>
              <a:off x="7978388" y="1572217"/>
              <a:ext cx="393056" cy="30342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1050" dirty="0" smtClean="0">
                  <a:latin typeface="+mn-ea"/>
                </a:rPr>
                <a:t>7</a:t>
              </a:r>
              <a:r>
                <a:rPr lang="ko-KR" altLang="en-US" sz="1050" smtClean="0">
                  <a:latin typeface="+mn-ea"/>
                </a:rPr>
                <a:t>월</a:t>
              </a:r>
              <a:endParaRPr lang="ko-KR" altLang="en-US" sz="1050">
                <a:latin typeface="+mn-ea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5151189" y="1306641"/>
              <a:ext cx="4539239" cy="312769"/>
            </a:xfrm>
            <a:prstGeom prst="rect">
              <a:avLst/>
            </a:prstGeom>
            <a:noFill/>
          </p:spPr>
          <p:txBody>
            <a:bodyPr wrap="square" lIns="72000" tIns="36000" rIns="36000" bIns="36000" rtlCol="0">
              <a:spAutoFit/>
            </a:bodyPr>
            <a:lstStyle/>
            <a:p>
              <a:pPr marL="180975" lvl="1" indent="-180975">
                <a:lnSpc>
                  <a:spcPct val="120000"/>
                </a:lnSpc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en-US" altLang="ko-KR" sz="1300" b="1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2</a:t>
              </a:r>
              <a:r>
                <a:rPr lang="ko-KR" altLang="en-US" sz="1300" b="1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개월동안 데이터 탐색 및 불량 원인 분석</a:t>
              </a:r>
              <a:endPara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endParaRPr>
            </a:p>
          </p:txBody>
        </p:sp>
      </p:grpSp>
      <p:sp>
        <p:nvSpPr>
          <p:cNvPr id="52" name="직사각형 51"/>
          <p:cNvSpPr/>
          <p:nvPr/>
        </p:nvSpPr>
        <p:spPr>
          <a:xfrm>
            <a:off x="420808" y="3032001"/>
            <a:ext cx="4210540" cy="33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목표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달성 필요 데이터 정의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1300" b="1">
                <a:solidFill>
                  <a:prstClr val="black"/>
                </a:solidFill>
                <a:latin typeface="맑은 고딕" panose="020B0503020000020004" pitchFamily="50" charset="-127"/>
              </a:rPr>
              <a:t>추가 수집 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</a:rPr>
              <a:t>필요성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제시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88022" y="1650791"/>
            <a:ext cx="39902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등급별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ㅇ의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적정 조건 검증</a:t>
            </a: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단선 </a:t>
            </a:r>
            <a:r>
              <a:rPr lang="ko-KR" altLang="en-US" sz="1200" dirty="0" err="1">
                <a:solidFill>
                  <a:schemeClr val="bg2">
                    <a:lumMod val="25000"/>
                  </a:schemeClr>
                </a:solidFill>
              </a:rPr>
              <a:t>로트를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 통한 유의한 의미 분석 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78497" y="2269916"/>
            <a:ext cx="39902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설비조건 데이터와 품질검사 데이터 간 상관성 분석</a:t>
            </a: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ㅇ에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문제가 있었던 </a:t>
            </a:r>
            <a:r>
              <a:rPr lang="ko-KR" altLang="en-US" sz="1200" dirty="0" err="1">
                <a:solidFill>
                  <a:schemeClr val="bg2">
                    <a:lumMod val="25000"/>
                  </a:schemeClr>
                </a:solidFill>
              </a:rPr>
              <a:t>보빈들의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 특징 파악</a:t>
            </a:r>
          </a:p>
        </p:txBody>
      </p:sp>
      <p:sp>
        <p:nvSpPr>
          <p:cNvPr id="9" name="직사각형 8"/>
          <p:cNvSpPr/>
          <p:nvPr/>
        </p:nvSpPr>
        <p:spPr>
          <a:xfrm>
            <a:off x="312033" y="1772042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200" b="1" dirty="0" err="1" smtClean="0">
                <a:solidFill>
                  <a:schemeClr val="bg2">
                    <a:lumMod val="25000"/>
                  </a:schemeClr>
                </a:solidFill>
              </a:rPr>
              <a:t>ㅇㅇㅇ</a:t>
            </a:r>
            <a:endParaRPr lang="ko-KR" altLang="en-US" sz="12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312033" y="2372117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200" b="1" dirty="0" err="1" smtClean="0">
                <a:solidFill>
                  <a:schemeClr val="bg2">
                    <a:lumMod val="25000"/>
                  </a:schemeClr>
                </a:solidFill>
              </a:rPr>
              <a:t>ㅇㅇㅇ</a:t>
            </a:r>
            <a:endParaRPr lang="ko-KR" altLang="en-US" sz="1200" b="1" dirty="0">
              <a:solidFill>
                <a:schemeClr val="bg2">
                  <a:lumMod val="25000"/>
                </a:schemeClr>
              </a:solidFill>
            </a:endParaRPr>
          </a:p>
        </p:txBody>
      </p:sp>
      <p:grpSp>
        <p:nvGrpSpPr>
          <p:cNvPr id="57" name="그룹 56"/>
          <p:cNvGrpSpPr/>
          <p:nvPr/>
        </p:nvGrpSpPr>
        <p:grpSpPr>
          <a:xfrm>
            <a:off x="5420858" y="1807892"/>
            <a:ext cx="3862724" cy="2021158"/>
            <a:chOff x="547351" y="1679819"/>
            <a:chExt cx="4209160" cy="1838005"/>
          </a:xfrm>
        </p:grpSpPr>
        <p:sp>
          <p:nvSpPr>
            <p:cNvPr id="58" name="직사각형 57"/>
            <p:cNvSpPr/>
            <p:nvPr/>
          </p:nvSpPr>
          <p:spPr>
            <a:xfrm>
              <a:off x="2457654" y="2582500"/>
              <a:ext cx="1083232" cy="2431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900" dirty="0" smtClean="0">
                  <a:solidFill>
                    <a:schemeClr val="tx1"/>
                  </a:solidFill>
                </a:rPr>
                <a:t>프로젝트 수행</a:t>
              </a:r>
              <a:endParaRPr lang="ko-KR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59" name="직사각형 58"/>
            <p:cNvSpPr/>
            <p:nvPr/>
          </p:nvSpPr>
          <p:spPr>
            <a:xfrm>
              <a:off x="2457654" y="2832306"/>
              <a:ext cx="1083232" cy="66204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tx1"/>
                  </a:solidFill>
                </a:rPr>
                <a:t>ㅇㅇㅇ</a:t>
              </a:r>
              <a:endParaRPr lang="en-US" altLang="ko-KR" sz="900" dirty="0">
                <a:solidFill>
                  <a:schemeClr val="tx1"/>
                </a:solidFill>
              </a:endParaRPr>
            </a:p>
          </p:txBody>
        </p:sp>
        <p:sp>
          <p:nvSpPr>
            <p:cNvPr id="60" name="직사각형 59"/>
            <p:cNvSpPr/>
            <p:nvPr/>
          </p:nvSpPr>
          <p:spPr>
            <a:xfrm>
              <a:off x="547351" y="2582500"/>
              <a:ext cx="1310711" cy="2431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 smtClean="0">
                  <a:solidFill>
                    <a:schemeClr val="tx1"/>
                  </a:solidFill>
                </a:rPr>
                <a:t>프로젝트 담당자</a:t>
              </a:r>
              <a:endParaRPr lang="ko-KR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61" name="직사각형 60"/>
            <p:cNvSpPr/>
            <p:nvPr/>
          </p:nvSpPr>
          <p:spPr>
            <a:xfrm>
              <a:off x="547351" y="2832306"/>
              <a:ext cx="1310711" cy="68551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ko-KR" altLang="en-US" sz="900" dirty="0" err="1" smtClean="0">
                  <a:solidFill>
                    <a:schemeClr val="tx1"/>
                  </a:solidFill>
                </a:rPr>
                <a:t>ㅇㅇㅇ</a:t>
              </a:r>
              <a:endParaRPr lang="ko-KR" altLang="en-US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62" name="직선 연결선 61"/>
            <p:cNvCxnSpPr>
              <a:stCxn id="60" idx="3"/>
              <a:endCxn id="58" idx="1"/>
            </p:cNvCxnSpPr>
            <p:nvPr/>
          </p:nvCxnSpPr>
          <p:spPr>
            <a:xfrm>
              <a:off x="1858062" y="2704095"/>
              <a:ext cx="59959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3" name="그룹 62"/>
            <p:cNvGrpSpPr/>
            <p:nvPr/>
          </p:nvGrpSpPr>
          <p:grpSpPr>
            <a:xfrm>
              <a:off x="854658" y="1679819"/>
              <a:ext cx="2554204" cy="492995"/>
              <a:chOff x="1104152" y="2125610"/>
              <a:chExt cx="1271955" cy="873368"/>
            </a:xfrm>
          </p:grpSpPr>
          <p:sp>
            <p:nvSpPr>
              <p:cNvPr id="73" name="직사각형 72"/>
              <p:cNvSpPr/>
              <p:nvPr/>
            </p:nvSpPr>
            <p:spPr>
              <a:xfrm>
                <a:off x="1104152" y="2125610"/>
                <a:ext cx="1271955" cy="43082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smtClean="0">
                    <a:solidFill>
                      <a:schemeClr val="tx1"/>
                    </a:solidFill>
                  </a:rPr>
                  <a:t>프로젝트 책임자</a:t>
                </a:r>
                <a:endParaRPr lang="ko-KR" altLang="en-US" sz="9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직사각형 73"/>
              <p:cNvSpPr/>
              <p:nvPr/>
            </p:nvSpPr>
            <p:spPr>
              <a:xfrm>
                <a:off x="1104152" y="2568155"/>
                <a:ext cx="1271955" cy="43082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900" dirty="0" err="1" smtClean="0">
                    <a:solidFill>
                      <a:schemeClr val="tx1"/>
                    </a:solidFill>
                  </a:rPr>
                  <a:t>ㅇㅇㅇ</a:t>
                </a:r>
                <a:endParaRPr lang="en-US" altLang="ko-KR" sz="900" dirty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64" name="직선 연결선 63"/>
            <p:cNvCxnSpPr>
              <a:stCxn id="74" idx="2"/>
            </p:cNvCxnSpPr>
            <p:nvPr/>
          </p:nvCxnSpPr>
          <p:spPr>
            <a:xfrm flipH="1">
              <a:off x="2127742" y="2172814"/>
              <a:ext cx="4018" cy="540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직사각형 64"/>
            <p:cNvSpPr/>
            <p:nvPr/>
          </p:nvSpPr>
          <p:spPr>
            <a:xfrm>
              <a:off x="3866766" y="2210288"/>
              <a:ext cx="889745" cy="2431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900" dirty="0">
                  <a:solidFill>
                    <a:schemeClr val="tx1"/>
                  </a:solidFill>
                </a:rPr>
                <a:t>2</a:t>
              </a:r>
              <a:r>
                <a:rPr lang="ko-KR" altLang="en-US" sz="900">
                  <a:solidFill>
                    <a:schemeClr val="tx1"/>
                  </a:solidFill>
                </a:rPr>
                <a:t>선지원</a:t>
              </a:r>
              <a:endParaRPr lang="ko-KR" alt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3866766" y="2460094"/>
              <a:ext cx="889745" cy="87779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900" dirty="0" err="1" smtClean="0">
                  <a:solidFill>
                    <a:schemeClr val="tx1"/>
                  </a:solidFill>
                </a:rPr>
                <a:t>ㅇㅇㅇ</a:t>
              </a:r>
              <a:endParaRPr lang="en-US" altLang="ko-KR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67" name="직선 연결선 66"/>
            <p:cNvCxnSpPr/>
            <p:nvPr/>
          </p:nvCxnSpPr>
          <p:spPr>
            <a:xfrm>
              <a:off x="2133203" y="2331883"/>
              <a:ext cx="1728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8" name="그룹 67"/>
            <p:cNvGrpSpPr/>
            <p:nvPr/>
          </p:nvGrpSpPr>
          <p:grpSpPr>
            <a:xfrm>
              <a:off x="3925254" y="1687883"/>
              <a:ext cx="611457" cy="411708"/>
              <a:chOff x="232485" y="1969237"/>
              <a:chExt cx="611457" cy="411708"/>
            </a:xfrm>
          </p:grpSpPr>
          <p:sp>
            <p:nvSpPr>
              <p:cNvPr id="71" name="직사각형 70"/>
              <p:cNvSpPr/>
              <p:nvPr/>
            </p:nvSpPr>
            <p:spPr>
              <a:xfrm>
                <a:off x="232485" y="1969237"/>
                <a:ext cx="611456" cy="20098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ko-KR" altLang="en-US" sz="600" dirty="0" err="1" smtClean="0">
                    <a:solidFill>
                      <a:schemeClr val="tx1"/>
                    </a:solidFill>
                  </a:rPr>
                  <a:t>ㅇㅇㅇ</a:t>
                </a:r>
                <a:endParaRPr lang="ko-KR" altLang="en-US" sz="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직사각형 71"/>
              <p:cNvSpPr/>
              <p:nvPr/>
            </p:nvSpPr>
            <p:spPr>
              <a:xfrm>
                <a:off x="232486" y="2179962"/>
                <a:ext cx="611456" cy="20098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600" dirty="0" err="1" smtClean="0">
                    <a:solidFill>
                      <a:schemeClr val="tx1"/>
                    </a:solidFill>
                  </a:rPr>
                  <a:t>ㅇㅇㅇ</a:t>
                </a:r>
                <a:endParaRPr lang="ko-KR" altLang="en-US" sz="6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69" name="직사각형 68"/>
            <p:cNvSpPr/>
            <p:nvPr/>
          </p:nvSpPr>
          <p:spPr>
            <a:xfrm>
              <a:off x="1372539" y="2224427"/>
              <a:ext cx="760121" cy="27517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900" dirty="0" smtClean="0"/>
                <a:t>↑ Report </a:t>
              </a:r>
              <a:r>
                <a:rPr lang="en-US" altLang="ko-KR" sz="900" dirty="0"/>
                <a:t>to</a:t>
              </a:r>
              <a:endParaRPr lang="ko-KR" altLang="en-US" sz="900" dirty="0"/>
            </a:p>
          </p:txBody>
        </p:sp>
        <p:sp>
          <p:nvSpPr>
            <p:cNvPr id="70" name="직사각형 69"/>
            <p:cNvSpPr/>
            <p:nvPr/>
          </p:nvSpPr>
          <p:spPr>
            <a:xfrm>
              <a:off x="2754992" y="2280112"/>
              <a:ext cx="814621" cy="27517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900" dirty="0" smtClean="0"/>
                <a:t>← Support to</a:t>
              </a:r>
              <a:endParaRPr lang="ko-KR" altLang="en-US" sz="900" dirty="0"/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657231" y="813098"/>
            <a:ext cx="387492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과제 목표 및 일정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76" name="직선 연결선 75"/>
          <p:cNvCxnSpPr/>
          <p:nvPr/>
        </p:nvCxnSpPr>
        <p:spPr>
          <a:xfrm>
            <a:off x="410534" y="1139022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grpSp>
        <p:nvGrpSpPr>
          <p:cNvPr id="77" name="그룹 76"/>
          <p:cNvGrpSpPr/>
          <p:nvPr/>
        </p:nvGrpSpPr>
        <p:grpSpPr>
          <a:xfrm>
            <a:off x="5126142" y="833613"/>
            <a:ext cx="4250629" cy="350865"/>
            <a:chOff x="5126142" y="833613"/>
            <a:chExt cx="4250629" cy="350865"/>
          </a:xfrm>
        </p:grpSpPr>
        <p:sp>
          <p:nvSpPr>
            <p:cNvPr id="78" name="TextBox 77"/>
            <p:cNvSpPr txBox="1"/>
            <p:nvPr/>
          </p:nvSpPr>
          <p:spPr>
            <a:xfrm>
              <a:off x="5372839" y="833613"/>
              <a:ext cx="3874925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과제 일정 및 수행 인원</a:t>
              </a:r>
              <a:endPara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endParaRPr>
            </a:p>
          </p:txBody>
        </p:sp>
        <p:cxnSp>
          <p:nvCxnSpPr>
            <p:cNvPr id="79" name="직선 연결선 78"/>
            <p:cNvCxnSpPr/>
            <p:nvPr/>
          </p:nvCxnSpPr>
          <p:spPr>
            <a:xfrm>
              <a:off x="5126142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94" name="TextBox 93"/>
          <p:cNvSpPr txBox="1"/>
          <p:nvPr/>
        </p:nvSpPr>
        <p:spPr>
          <a:xfrm>
            <a:off x="5243756" y="4001291"/>
            <a:ext cx="4433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ㅇ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프로젝트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수행 인력과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프로젝트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담당자 협업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544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3. </a:t>
            </a:r>
            <a:r>
              <a:rPr lang="ko-KR" altLang="en-US" dirty="0" err="1" smtClean="0">
                <a:latin typeface="+mj-ea"/>
              </a:rPr>
              <a:t>ㅇㅇ</a:t>
            </a:r>
            <a:r>
              <a:rPr lang="en-US" altLang="ko-KR" dirty="0" smtClean="0">
                <a:latin typeface="+mj-ea"/>
              </a:rPr>
              <a:t> </a:t>
            </a:r>
            <a:r>
              <a:rPr lang="en-US" altLang="ko-KR" dirty="0" smtClean="0">
                <a:latin typeface="+mj-ea"/>
              </a:rPr>
              <a:t>– 1) </a:t>
            </a:r>
            <a:r>
              <a:rPr lang="ko-KR" altLang="en-US" dirty="0" smtClean="0">
                <a:latin typeface="+mj-ea"/>
              </a:rPr>
              <a:t>데이터를 연결하고 이해하였습니다</a:t>
            </a:r>
            <a:r>
              <a:rPr lang="en-US" altLang="ko-KR" dirty="0" smtClean="0">
                <a:latin typeface="+mj-ea"/>
              </a:rPr>
              <a:t>. </a:t>
            </a:r>
            <a:endParaRPr lang="en-US" altLang="ko-KR" dirty="0">
              <a:latin typeface="+mj-ea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657231" y="813098"/>
            <a:ext cx="387492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</a:t>
            </a: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데이터 </a:t>
            </a:r>
            <a:r>
              <a: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전처리 및 마트 구축</a:t>
            </a:r>
          </a:p>
        </p:txBody>
      </p:sp>
      <p:cxnSp>
        <p:nvCxnSpPr>
          <p:cNvPr id="76" name="직선 연결선 75"/>
          <p:cNvCxnSpPr/>
          <p:nvPr/>
        </p:nvCxnSpPr>
        <p:spPr>
          <a:xfrm>
            <a:off x="410534" y="1139022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grpSp>
        <p:nvGrpSpPr>
          <p:cNvPr id="77" name="그룹 76"/>
          <p:cNvGrpSpPr/>
          <p:nvPr/>
        </p:nvGrpSpPr>
        <p:grpSpPr>
          <a:xfrm>
            <a:off x="5126142" y="833613"/>
            <a:ext cx="4250629" cy="325924"/>
            <a:chOff x="5126142" y="833613"/>
            <a:chExt cx="4250629" cy="325924"/>
          </a:xfrm>
        </p:grpSpPr>
        <p:sp>
          <p:nvSpPr>
            <p:cNvPr id="78" name="TextBox 77"/>
            <p:cNvSpPr txBox="1"/>
            <p:nvPr/>
          </p:nvSpPr>
          <p:spPr>
            <a:xfrm>
              <a:off x="5372839" y="833613"/>
              <a:ext cx="3874925" cy="325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400" b="1" dirty="0" err="1">
                  <a:solidFill>
                    <a:prstClr val="black"/>
                  </a:solidFill>
                  <a:latin typeface="맑은 고딕" panose="020B0503020000020004" pitchFamily="50" charset="-127"/>
                </a:rPr>
                <a:t>결측치</a:t>
              </a:r>
              <a:r>
                <a:rPr kumimoji="1"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</a:rPr>
                <a:t> 보정 및 변수 명세 파악</a:t>
              </a:r>
            </a:p>
          </p:txBody>
        </p:sp>
        <p:cxnSp>
          <p:nvCxnSpPr>
            <p:cNvPr id="79" name="직선 연결선 78"/>
            <p:cNvCxnSpPr/>
            <p:nvPr/>
          </p:nvCxnSpPr>
          <p:spPr>
            <a:xfrm>
              <a:off x="5126142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80" name="TextBox 79"/>
          <p:cNvSpPr txBox="1"/>
          <p:nvPr/>
        </p:nvSpPr>
        <p:spPr>
          <a:xfrm>
            <a:off x="320187" y="1239264"/>
            <a:ext cx="4357321" cy="552835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『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ㅇ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데이터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』,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『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ㅇ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err="1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로트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데이터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』,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『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데이터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』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를  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Lot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번호로 연결하여 분석 마트 구축 완료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2867889" y="1966807"/>
            <a:ext cx="166601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『</a:t>
            </a:r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ㅇㅇㅇ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 </a:t>
            </a:r>
            <a:r>
              <a:rPr lang="ko-KR" altLang="en-US" sz="1050" dirty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데이터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』</a:t>
            </a:r>
            <a:endParaRPr lang="en-US" altLang="ko-KR" sz="105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  <a:p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18/01/01/</a:t>
            </a:r>
            <a:r>
              <a:rPr lang="ko-KR" altLang="en-US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~ 20/06/01</a:t>
            </a:r>
          </a:p>
          <a:p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ㅇ행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X 30</a:t>
            </a:r>
            <a:r>
              <a:rPr lang="ko-KR" altLang="en-US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열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2867889" y="2624032"/>
            <a:ext cx="166601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『</a:t>
            </a:r>
            <a:r>
              <a:rPr lang="ko-KR" altLang="en-US" sz="1050" dirty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단선 발생 </a:t>
            </a:r>
            <a:r>
              <a:rPr lang="ko-KR" altLang="en-US" sz="1050" dirty="0" err="1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로트</a:t>
            </a:r>
            <a:r>
              <a:rPr lang="ko-KR" altLang="en-US" sz="1050" dirty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 데이터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』</a:t>
            </a:r>
            <a:endParaRPr lang="en-US" altLang="ko-KR" sz="105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  <a:p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18/01/06 ~ 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19/12/07</a:t>
            </a:r>
          </a:p>
          <a:p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ㅇ행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X </a:t>
            </a:r>
            <a:r>
              <a:rPr lang="en-US" altLang="ko-KR" sz="105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2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열</a:t>
            </a:r>
            <a:endParaRPr lang="ko-KR" altLang="en-US" sz="105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graphicFrame>
        <p:nvGraphicFramePr>
          <p:cNvPr id="113" name="표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2589750"/>
              </p:ext>
            </p:extLst>
          </p:nvPr>
        </p:nvGraphicFramePr>
        <p:xfrm>
          <a:off x="813266" y="3401231"/>
          <a:ext cx="1825264" cy="387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39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4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50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58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00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19044"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Lot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x</a:t>
                      </a:r>
                      <a:endParaRPr lang="en-US" altLang="ko-KR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…</a:t>
                      </a:r>
                      <a:endParaRPr lang="ko-KR" altLang="en-US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x</a:t>
                      </a:r>
                      <a:endParaRPr lang="ko-KR" altLang="en-US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합격여부</a:t>
                      </a:r>
                      <a:endParaRPr lang="ko-KR" alt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044">
                <a:tc>
                  <a:txBody>
                    <a:bodyPr/>
                    <a:lstStyle/>
                    <a:p>
                      <a:pPr algn="ctr" fontAlgn="ctr"/>
                      <a:endParaRPr lang="ko-KR" altLang="en-US" sz="800" dirty="0" smtClean="0">
                        <a:solidFill>
                          <a:prstClr val="black"/>
                        </a:solidFill>
                        <a:latin typeface="+mj-ea"/>
                        <a:ea typeface="+mj-ea"/>
                        <a:sym typeface="Wingdings" panose="05000000000000000000" pitchFamily="2" charset="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dirty="0" smtClean="0">
                        <a:solidFill>
                          <a:schemeClr val="bg2">
                            <a:lumMod val="25000"/>
                          </a:schemeClr>
                        </a:solidFill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dirty="0" smtClean="0">
                        <a:solidFill>
                          <a:schemeClr val="bg2">
                            <a:lumMod val="25000"/>
                          </a:schemeClr>
                        </a:solidFill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800" dirty="0" smtClean="0">
                        <a:solidFill>
                          <a:schemeClr val="bg2">
                            <a:lumMod val="25000"/>
                          </a:schemeClr>
                        </a:solidFill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ko-KR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4" name="TextBox 113"/>
          <p:cNvSpPr txBox="1"/>
          <p:nvPr/>
        </p:nvSpPr>
        <p:spPr>
          <a:xfrm>
            <a:off x="2877414" y="3303238"/>
            <a:ext cx="166601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『</a:t>
            </a:r>
            <a:r>
              <a:rPr lang="ko-KR" altLang="en-US" sz="1050" dirty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화학성분 데이터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  <a:sym typeface="Wingdings" panose="05000000000000000000" pitchFamily="2" charset="2"/>
              </a:rPr>
              <a:t>』</a:t>
            </a:r>
            <a:endParaRPr lang="en-US" altLang="ko-KR" sz="105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  <a:p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18/01/01</a:t>
            </a:r>
            <a:r>
              <a:rPr lang="ko-KR" altLang="en-US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~ 20/06/15</a:t>
            </a:r>
          </a:p>
          <a:p>
            <a:r>
              <a:rPr lang="ko-KR" altLang="en-US" sz="105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ㅇ행</a:t>
            </a:r>
            <a:r>
              <a:rPr lang="ko-KR" altLang="en-US" sz="105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 </a:t>
            </a:r>
            <a:r>
              <a:rPr lang="en-US" altLang="ko-KR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X 19</a:t>
            </a:r>
            <a:r>
              <a:rPr lang="ko-KR" altLang="en-US" sz="1050" dirty="0">
                <a:solidFill>
                  <a:schemeClr val="bg2">
                    <a:lumMod val="25000"/>
                  </a:schemeClr>
                </a:solidFill>
                <a:latin typeface="+mn-ea"/>
              </a:rPr>
              <a:t>열</a:t>
            </a:r>
          </a:p>
        </p:txBody>
      </p:sp>
      <p:cxnSp>
        <p:nvCxnSpPr>
          <p:cNvPr id="3" name="구부러진 연결선 2"/>
          <p:cNvCxnSpPr>
            <a:stCxn id="19" idx="3"/>
            <a:endCxn id="4" idx="0"/>
          </p:cNvCxnSpPr>
          <p:nvPr/>
        </p:nvCxnSpPr>
        <p:spPr>
          <a:xfrm rot="16200000" flipH="1">
            <a:off x="1256019" y="1961964"/>
            <a:ext cx="159965" cy="1338024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타원 3"/>
          <p:cNvSpPr/>
          <p:nvPr/>
        </p:nvSpPr>
        <p:spPr>
          <a:xfrm>
            <a:off x="1971675" y="2710959"/>
            <a:ext cx="66675" cy="6667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타원 18"/>
          <p:cNvSpPr/>
          <p:nvPr/>
        </p:nvSpPr>
        <p:spPr>
          <a:xfrm>
            <a:off x="657225" y="2494083"/>
            <a:ext cx="66675" cy="6667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타원 19"/>
          <p:cNvSpPr/>
          <p:nvPr/>
        </p:nvSpPr>
        <p:spPr>
          <a:xfrm>
            <a:off x="904875" y="3349870"/>
            <a:ext cx="66675" cy="6667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3" name="구부러진 연결선 22"/>
          <p:cNvCxnSpPr>
            <a:stCxn id="20" idx="7"/>
            <a:endCxn id="25" idx="3"/>
          </p:cNvCxnSpPr>
          <p:nvPr/>
        </p:nvCxnSpPr>
        <p:spPr>
          <a:xfrm rot="5400000" flipH="1" flipV="1">
            <a:off x="1429609" y="2741129"/>
            <a:ext cx="150682" cy="1086328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타원 24"/>
          <p:cNvSpPr/>
          <p:nvPr/>
        </p:nvSpPr>
        <p:spPr>
          <a:xfrm>
            <a:off x="2038350" y="3152041"/>
            <a:ext cx="66675" cy="6667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TextBox 26"/>
          <p:cNvSpPr txBox="1"/>
          <p:nvPr/>
        </p:nvSpPr>
        <p:spPr>
          <a:xfrm>
            <a:off x="310307" y="3924252"/>
            <a:ext cx="4433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총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ㅇ행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X 50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열 데이터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마트 구축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318836" y="1518576"/>
            <a:ext cx="4504924" cy="349702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71450" lvl="1" indent="-171450">
              <a:lnSpc>
                <a:spcPct val="150000"/>
              </a:lnSpc>
              <a:spcAft>
                <a:spcPts val="600"/>
              </a:spcAft>
              <a:buFontTx/>
              <a:buChar char="-"/>
            </a:pP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ㅇㅇ등급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산정 변수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(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ㅇㅇ개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)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  <a:sym typeface="Wingdings" panose="05000000000000000000" pitchFamily="2" charset="2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6925101" y="1911256"/>
            <a:ext cx="598844" cy="18859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10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5638187" y="1911256"/>
            <a:ext cx="598844" cy="18859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10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6281644" y="1911256"/>
            <a:ext cx="598844" cy="18859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10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34" name="직사각형 33"/>
          <p:cNvSpPr/>
          <p:nvPr/>
        </p:nvSpPr>
        <p:spPr>
          <a:xfrm>
            <a:off x="7568559" y="2409325"/>
            <a:ext cx="598844" cy="1885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tx1"/>
                </a:solidFill>
                <a:latin typeface="+mj-ea"/>
                <a:ea typeface="+mj-ea"/>
              </a:rPr>
              <a:t>ㅇㅇ</a:t>
            </a:r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8212014" y="2409325"/>
            <a:ext cx="598844" cy="1885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tx1"/>
                </a:solidFill>
                <a:latin typeface="+mj-ea"/>
                <a:ea typeface="+mj-ea"/>
              </a:rPr>
              <a:t>ㅇㅇ</a:t>
            </a:r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6281644" y="2409325"/>
            <a:ext cx="598844" cy="1885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</a:t>
            </a:r>
            <a:endParaRPr lang="ko-KR" altLang="en-US" sz="10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37" name="직사각형 36">
            <a:hlinkClick r:id="" action="ppaction://noaction"/>
          </p:cNvPr>
          <p:cNvSpPr/>
          <p:nvPr/>
        </p:nvSpPr>
        <p:spPr>
          <a:xfrm>
            <a:off x="5638187" y="2418755"/>
            <a:ext cx="598844" cy="1885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</a:t>
            </a:r>
            <a:endParaRPr lang="ko-KR" altLang="en-US" sz="10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6925101" y="2409325"/>
            <a:ext cx="598844" cy="1885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ㅇㅇ</a:t>
            </a:r>
            <a:endParaRPr lang="ko-KR" altLang="en-US" sz="10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7568559" y="2160089"/>
            <a:ext cx="598844" cy="18859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10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0" name="직사각형 39">
            <a:hlinkClick r:id="" action="ppaction://noaction"/>
          </p:cNvPr>
          <p:cNvSpPr/>
          <p:nvPr/>
        </p:nvSpPr>
        <p:spPr>
          <a:xfrm>
            <a:off x="8212014" y="2160089"/>
            <a:ext cx="598844" cy="18859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10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7572495" y="1914106"/>
            <a:ext cx="598844" cy="18859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1000" dirty="0">
              <a:solidFill>
                <a:schemeClr val="bg1"/>
              </a:solidFill>
              <a:latin typeface="+mn-ea"/>
            </a:endParaRPr>
          </a:p>
        </p:txBody>
      </p:sp>
      <p:grpSp>
        <p:nvGrpSpPr>
          <p:cNvPr id="14" name="그룹 13"/>
          <p:cNvGrpSpPr/>
          <p:nvPr/>
        </p:nvGrpSpPr>
        <p:grpSpPr>
          <a:xfrm>
            <a:off x="5648596" y="2157441"/>
            <a:ext cx="1867257" cy="188596"/>
            <a:chOff x="7758751" y="1726618"/>
            <a:chExt cx="1867257" cy="188596"/>
          </a:xfrm>
        </p:grpSpPr>
        <p:sp>
          <p:nvSpPr>
            <p:cNvPr id="30" name="직사각형 29"/>
            <p:cNvSpPr/>
            <p:nvPr/>
          </p:nvSpPr>
          <p:spPr>
            <a:xfrm>
              <a:off x="8383709" y="1726618"/>
              <a:ext cx="598844" cy="18859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10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31" name="직사각형 30"/>
            <p:cNvSpPr/>
            <p:nvPr/>
          </p:nvSpPr>
          <p:spPr>
            <a:xfrm>
              <a:off x="9027164" y="1726618"/>
              <a:ext cx="598844" cy="18859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10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42" name="직사각형 41"/>
            <p:cNvSpPr/>
            <p:nvPr/>
          </p:nvSpPr>
          <p:spPr>
            <a:xfrm>
              <a:off x="7758751" y="1726618"/>
              <a:ext cx="598844" cy="18859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1000" dirty="0"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43" name="직사각형 42"/>
          <p:cNvSpPr/>
          <p:nvPr/>
        </p:nvSpPr>
        <p:spPr>
          <a:xfrm>
            <a:off x="8199986" y="1913905"/>
            <a:ext cx="598844" cy="1885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tx1"/>
                </a:solidFill>
                <a:latin typeface="+mj-ea"/>
                <a:ea typeface="+mj-ea"/>
              </a:rPr>
              <a:t>ㅇㅇ</a:t>
            </a:r>
            <a:endParaRPr lang="ko-KR" altLang="en-US" sz="9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8841163" y="1916344"/>
            <a:ext cx="598844" cy="1885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tx1"/>
                </a:solidFill>
                <a:latin typeface="+mj-ea"/>
                <a:ea typeface="+mj-ea"/>
              </a:rPr>
              <a:t>ㅇㅇ</a:t>
            </a:r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8855728" y="2154535"/>
            <a:ext cx="598844" cy="1885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tx1"/>
                </a:solidFill>
                <a:latin typeface="+mj-ea"/>
                <a:ea typeface="+mj-ea"/>
              </a:rPr>
              <a:t>ㅇㅇ</a:t>
            </a:r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120787" y="1239264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『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데이터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』: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시스템에서 추출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332246" y="2691061"/>
            <a:ext cx="4504924" cy="349702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71450" lvl="1" indent="-171450">
              <a:lnSpc>
                <a:spcPct val="150000"/>
              </a:lnSpc>
              <a:spcAft>
                <a:spcPts val="600"/>
              </a:spcAft>
              <a:buFontTx/>
              <a:buChar char="-"/>
            </a:pP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등급 산정에 들어가지 않는 측정값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(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ㅇ개</a:t>
            </a: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)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  <a:sym typeface="Wingdings" panose="05000000000000000000" pitchFamily="2" charset="2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5608389" y="3070858"/>
            <a:ext cx="3448320" cy="372622"/>
            <a:chOff x="5339257" y="4204019"/>
            <a:chExt cx="3793152" cy="409884"/>
          </a:xfrm>
        </p:grpSpPr>
        <p:sp>
          <p:nvSpPr>
            <p:cNvPr id="52" name="직사각형 51"/>
            <p:cNvSpPr/>
            <p:nvPr/>
          </p:nvSpPr>
          <p:spPr>
            <a:xfrm>
              <a:off x="6886369" y="4433903"/>
              <a:ext cx="720000" cy="18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5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105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53" name="직사각형 52"/>
            <p:cNvSpPr/>
            <p:nvPr/>
          </p:nvSpPr>
          <p:spPr>
            <a:xfrm>
              <a:off x="7659914" y="4433903"/>
              <a:ext cx="720000" cy="18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5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105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54" name="직사각형 53"/>
            <p:cNvSpPr/>
            <p:nvPr/>
          </p:nvSpPr>
          <p:spPr>
            <a:xfrm>
              <a:off x="5339277" y="4433903"/>
              <a:ext cx="720000" cy="1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50" dirty="0" err="1" smtClean="0">
                  <a:solidFill>
                    <a:schemeClr val="tx1"/>
                  </a:solidFill>
                  <a:latin typeface="+mj-ea"/>
                  <a:ea typeface="+mj-ea"/>
                </a:rPr>
                <a:t>ㅇㅇ</a:t>
              </a:r>
              <a:endParaRPr lang="en-US" altLang="ko-KR" sz="1050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55" name="직사각형 54"/>
            <p:cNvSpPr/>
            <p:nvPr/>
          </p:nvSpPr>
          <p:spPr>
            <a:xfrm>
              <a:off x="6112823" y="4433903"/>
              <a:ext cx="720000" cy="18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50" dirty="0" err="1" smtClean="0">
                  <a:solidFill>
                    <a:schemeClr val="tx1"/>
                  </a:solidFill>
                  <a:latin typeface="+mj-ea"/>
                  <a:ea typeface="+mj-ea"/>
                </a:rPr>
                <a:t>ㅇㅇ</a:t>
              </a:r>
              <a:endParaRPr lang="en-US" altLang="ko-KR" sz="1050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56" name="직사각형 55"/>
            <p:cNvSpPr/>
            <p:nvPr/>
          </p:nvSpPr>
          <p:spPr>
            <a:xfrm>
              <a:off x="8412409" y="4204019"/>
              <a:ext cx="720000" cy="18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5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105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57" name="직사각형 56"/>
            <p:cNvSpPr/>
            <p:nvPr/>
          </p:nvSpPr>
          <p:spPr>
            <a:xfrm>
              <a:off x="6107545" y="4204019"/>
              <a:ext cx="720000" cy="1800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50" dirty="0" err="1" smtClean="0">
                  <a:solidFill>
                    <a:schemeClr val="tx1"/>
                  </a:solidFill>
                  <a:latin typeface="+mj-ea"/>
                  <a:ea typeface="+mj-ea"/>
                </a:rPr>
                <a:t>ㅇㅇ</a:t>
              </a:r>
              <a:endParaRPr lang="ko-KR" altLang="en-US" sz="1050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sp>
          <p:nvSpPr>
            <p:cNvPr id="58" name="직사각형 57"/>
            <p:cNvSpPr/>
            <p:nvPr/>
          </p:nvSpPr>
          <p:spPr>
            <a:xfrm>
              <a:off x="7644121" y="4204019"/>
              <a:ext cx="720000" cy="18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5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en-US" altLang="ko-KR" sz="105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59" name="직사각형 58">
              <a:hlinkClick r:id="" action="ppaction://noaction"/>
            </p:cNvPr>
            <p:cNvSpPr/>
            <p:nvPr/>
          </p:nvSpPr>
          <p:spPr>
            <a:xfrm>
              <a:off x="5339257" y="4204019"/>
              <a:ext cx="720000" cy="18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5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105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60" name="직사각형 59"/>
            <p:cNvSpPr/>
            <p:nvPr/>
          </p:nvSpPr>
          <p:spPr>
            <a:xfrm>
              <a:off x="6875833" y="4204019"/>
              <a:ext cx="720000" cy="18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8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800" dirty="0">
                <a:solidFill>
                  <a:schemeClr val="bg1"/>
                </a:solidFill>
                <a:latin typeface="+mn-ea"/>
              </a:endParaRPr>
            </a:p>
          </p:txBody>
        </p:sp>
      </p:grpSp>
      <p:sp>
        <p:nvSpPr>
          <p:cNvPr id="62" name="직사각형 61">
            <a:hlinkClick r:id="" action="ppaction://noaction"/>
          </p:cNvPr>
          <p:cNvSpPr/>
          <p:nvPr/>
        </p:nvSpPr>
        <p:spPr>
          <a:xfrm>
            <a:off x="5499916" y="4127080"/>
            <a:ext cx="1049840" cy="18306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1000" dirty="0" err="1" smtClean="0">
                <a:solidFill>
                  <a:schemeClr val="tx1"/>
                </a:solidFill>
                <a:latin typeface="+mj-ea"/>
                <a:ea typeface="+mj-ea"/>
              </a:rPr>
              <a:t>ddd</a:t>
            </a:r>
            <a:r>
              <a:rPr lang="ko-KR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ko-KR" altLang="en-US" sz="1000" dirty="0" err="1">
                <a:solidFill>
                  <a:schemeClr val="tx1"/>
                </a:solidFill>
                <a:latin typeface="+mj-ea"/>
                <a:ea typeface="+mj-ea"/>
              </a:rPr>
              <a:t>고객사</a:t>
            </a:r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63" name="직사각형 62">
            <a:hlinkClick r:id="" action="ppaction://noaction"/>
          </p:cNvPr>
          <p:cNvSpPr/>
          <p:nvPr/>
        </p:nvSpPr>
        <p:spPr>
          <a:xfrm>
            <a:off x="6686058" y="4130448"/>
            <a:ext cx="1049840" cy="18306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1000" dirty="0" err="1" smtClean="0">
                <a:solidFill>
                  <a:schemeClr val="tx1"/>
                </a:solidFill>
                <a:latin typeface="+mj-ea"/>
                <a:ea typeface="+mj-ea"/>
              </a:rPr>
              <a:t>ㅇㅇ여부</a:t>
            </a:r>
            <a:endParaRPr lang="ko-KR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171587" y="4471105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『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데이터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』: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코일별로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검사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65" name="직사각형 64">
            <a:hlinkClick r:id="" action="ppaction://noaction"/>
          </p:cNvPr>
          <p:cNvSpPr/>
          <p:nvPr/>
        </p:nvSpPr>
        <p:spPr>
          <a:xfrm>
            <a:off x="5423148" y="4849251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en-US" altLang="ko-KR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6" name="직사각형 65">
            <a:hlinkClick r:id="" action="ppaction://noaction"/>
          </p:cNvPr>
          <p:cNvSpPr/>
          <p:nvPr/>
        </p:nvSpPr>
        <p:spPr>
          <a:xfrm>
            <a:off x="6115875" y="4849251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en-US" altLang="ko-KR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7" name="직사각형 66">
            <a:hlinkClick r:id="" action="ppaction://noaction"/>
          </p:cNvPr>
          <p:cNvSpPr/>
          <p:nvPr/>
        </p:nvSpPr>
        <p:spPr>
          <a:xfrm>
            <a:off x="6808603" y="4849251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en-US" altLang="ko-KR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8" name="직사각형 67">
            <a:hlinkClick r:id="" action="ppaction://noaction"/>
          </p:cNvPr>
          <p:cNvSpPr/>
          <p:nvPr/>
        </p:nvSpPr>
        <p:spPr>
          <a:xfrm>
            <a:off x="7501330" y="4849251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en-US" altLang="ko-KR" sz="7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9" name="직사각형 68">
            <a:hlinkClick r:id="" action="ppaction://noaction"/>
          </p:cNvPr>
          <p:cNvSpPr/>
          <p:nvPr/>
        </p:nvSpPr>
        <p:spPr>
          <a:xfrm>
            <a:off x="8194057" y="4849251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en-US" altLang="ko-KR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0" name="직사각형 69">
            <a:hlinkClick r:id="" action="ppaction://noaction"/>
          </p:cNvPr>
          <p:cNvSpPr/>
          <p:nvPr/>
        </p:nvSpPr>
        <p:spPr>
          <a:xfrm>
            <a:off x="5427346" y="5054970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1" name="직사각형 70">
            <a:hlinkClick r:id="" action="ppaction://noaction"/>
          </p:cNvPr>
          <p:cNvSpPr/>
          <p:nvPr/>
        </p:nvSpPr>
        <p:spPr>
          <a:xfrm>
            <a:off x="6120073" y="5054970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en-US" altLang="ko-KR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2" name="직사각형 71">
            <a:hlinkClick r:id="" action="ppaction://noaction"/>
          </p:cNvPr>
          <p:cNvSpPr/>
          <p:nvPr/>
        </p:nvSpPr>
        <p:spPr>
          <a:xfrm>
            <a:off x="6812801" y="5054970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en-US" altLang="ko-KR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3" name="직사각형 72">
            <a:hlinkClick r:id="" action="ppaction://noaction"/>
          </p:cNvPr>
          <p:cNvSpPr/>
          <p:nvPr/>
        </p:nvSpPr>
        <p:spPr>
          <a:xfrm>
            <a:off x="7505528" y="5054970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en-US" altLang="ko-KR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4" name="직사각형 73">
            <a:hlinkClick r:id="" action="ppaction://noaction"/>
          </p:cNvPr>
          <p:cNvSpPr/>
          <p:nvPr/>
        </p:nvSpPr>
        <p:spPr>
          <a:xfrm>
            <a:off x="8198255" y="5054970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en-US" altLang="ko-KR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1" name="직사각형 80">
            <a:hlinkClick r:id="" action="ppaction://noaction"/>
          </p:cNvPr>
          <p:cNvSpPr/>
          <p:nvPr/>
        </p:nvSpPr>
        <p:spPr>
          <a:xfrm>
            <a:off x="5431544" y="5260690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en-US" altLang="ko-KR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2" name="직사각형 81">
            <a:hlinkClick r:id="" action="ppaction://noaction"/>
          </p:cNvPr>
          <p:cNvSpPr/>
          <p:nvPr/>
        </p:nvSpPr>
        <p:spPr>
          <a:xfrm>
            <a:off x="6124272" y="5260690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en-US" altLang="ko-KR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3" name="직사각형 82">
            <a:hlinkClick r:id="" action="ppaction://noaction"/>
          </p:cNvPr>
          <p:cNvSpPr/>
          <p:nvPr/>
        </p:nvSpPr>
        <p:spPr>
          <a:xfrm>
            <a:off x="6816999" y="5260690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en-US" altLang="ko-KR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4" name="직사각형 83">
            <a:hlinkClick r:id="" action="ppaction://noaction"/>
          </p:cNvPr>
          <p:cNvSpPr/>
          <p:nvPr/>
        </p:nvSpPr>
        <p:spPr>
          <a:xfrm>
            <a:off x="7509726" y="5260690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5" name="직사각형 84">
            <a:hlinkClick r:id="" action="ppaction://noaction"/>
          </p:cNvPr>
          <p:cNvSpPr/>
          <p:nvPr/>
        </p:nvSpPr>
        <p:spPr>
          <a:xfrm>
            <a:off x="8202454" y="5260690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6" name="직사각형 85">
            <a:hlinkClick r:id="" action="ppaction://noaction"/>
          </p:cNvPr>
          <p:cNvSpPr/>
          <p:nvPr/>
        </p:nvSpPr>
        <p:spPr>
          <a:xfrm>
            <a:off x="8878065" y="4842954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7" name="직사각형 86">
            <a:hlinkClick r:id="" action="ppaction://noaction"/>
          </p:cNvPr>
          <p:cNvSpPr/>
          <p:nvPr/>
        </p:nvSpPr>
        <p:spPr>
          <a:xfrm>
            <a:off x="8878065" y="5050772"/>
            <a:ext cx="654545" cy="16363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900" dirty="0" err="1" smtClean="0">
                <a:solidFill>
                  <a:schemeClr val="bg1"/>
                </a:solidFill>
                <a:latin typeface="+mn-ea"/>
              </a:rPr>
              <a:t>ㅇㅇ</a:t>
            </a:r>
            <a:endParaRPr lang="ko-KR" altLang="en-US" sz="9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8" name="직사각형 87">
            <a:hlinkClick r:id="" action="ppaction://noaction"/>
          </p:cNvPr>
          <p:cNvSpPr/>
          <p:nvPr/>
        </p:nvSpPr>
        <p:spPr>
          <a:xfrm>
            <a:off x="8878065" y="5250598"/>
            <a:ext cx="654545" cy="163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dirty="0">
                <a:solidFill>
                  <a:schemeClr val="tx1"/>
                </a:solidFill>
                <a:latin typeface="+mj-ea"/>
                <a:ea typeface="+mj-ea"/>
              </a:rPr>
              <a:t>합격여부</a:t>
            </a:r>
          </a:p>
        </p:txBody>
      </p:sp>
      <p:grpSp>
        <p:nvGrpSpPr>
          <p:cNvPr id="10" name="그룹 9"/>
          <p:cNvGrpSpPr/>
          <p:nvPr/>
        </p:nvGrpSpPr>
        <p:grpSpPr>
          <a:xfrm>
            <a:off x="5608196" y="3482044"/>
            <a:ext cx="2753516" cy="171450"/>
            <a:chOff x="5467519" y="6514972"/>
            <a:chExt cx="2753516" cy="207455"/>
          </a:xfrm>
        </p:grpSpPr>
        <p:sp>
          <p:nvSpPr>
            <p:cNvPr id="47" name="직사각형 46"/>
            <p:cNvSpPr/>
            <p:nvPr/>
          </p:nvSpPr>
          <p:spPr>
            <a:xfrm>
              <a:off x="6864043" y="6514972"/>
              <a:ext cx="658729" cy="20745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altLang="ko-KR" sz="1050" dirty="0">
                  <a:solidFill>
                    <a:schemeClr val="tx1"/>
                  </a:solidFill>
                  <a:latin typeface="+mj-ea"/>
                  <a:ea typeface="+mj-ea"/>
                </a:rPr>
                <a:t>Lot</a:t>
              </a:r>
              <a:r>
                <a:rPr lang="ko-KR" altLang="en-US" sz="1050" dirty="0">
                  <a:solidFill>
                    <a:schemeClr val="tx1"/>
                  </a:solidFill>
                  <a:latin typeface="+mj-ea"/>
                  <a:ea typeface="+mj-ea"/>
                </a:rPr>
                <a:t>번호</a:t>
              </a:r>
            </a:p>
          </p:txBody>
        </p:sp>
        <p:sp>
          <p:nvSpPr>
            <p:cNvPr id="48" name="직사각형 47"/>
            <p:cNvSpPr/>
            <p:nvPr/>
          </p:nvSpPr>
          <p:spPr>
            <a:xfrm>
              <a:off x="5467519" y="6514972"/>
              <a:ext cx="658729" cy="20745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50" dirty="0">
                  <a:solidFill>
                    <a:schemeClr val="tx1"/>
                  </a:solidFill>
                  <a:latin typeface="+mj-ea"/>
                  <a:ea typeface="+mj-ea"/>
                </a:rPr>
                <a:t>날짜</a:t>
              </a: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6165781" y="6514972"/>
              <a:ext cx="658729" cy="20745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50" dirty="0">
                  <a:solidFill>
                    <a:schemeClr val="tx1"/>
                  </a:solidFill>
                  <a:latin typeface="+mj-ea"/>
                  <a:ea typeface="+mj-ea"/>
                </a:rPr>
                <a:t>시간</a:t>
              </a:r>
            </a:p>
          </p:txBody>
        </p:sp>
        <p:sp>
          <p:nvSpPr>
            <p:cNvPr id="50" name="직사각형 49"/>
            <p:cNvSpPr/>
            <p:nvPr/>
          </p:nvSpPr>
          <p:spPr>
            <a:xfrm>
              <a:off x="7562306" y="6514972"/>
              <a:ext cx="658729" cy="207455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1050" dirty="0" err="1" smtClean="0">
                  <a:solidFill>
                    <a:schemeClr val="tx1"/>
                  </a:solidFill>
                  <a:latin typeface="+mj-ea"/>
                  <a:ea typeface="+mj-ea"/>
                </a:rPr>
                <a:t>ㅇㅇ부</a:t>
              </a:r>
              <a:endParaRPr lang="ko-KR" altLang="en-US" sz="1050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91" name="TextBox 90"/>
          <p:cNvSpPr txBox="1"/>
          <p:nvPr/>
        </p:nvSpPr>
        <p:spPr>
          <a:xfrm>
            <a:off x="5114926" y="3774380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『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발생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로트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데이터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』: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단선 발생 여부 엑셀 기록</a:t>
            </a:r>
            <a:endParaRPr lang="en-US" altLang="ko-KR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5606897" y="1749642"/>
            <a:ext cx="25519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100" b="1" dirty="0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*</a:t>
            </a:r>
            <a:endParaRPr lang="ko-KR" altLang="en-US" sz="1100" b="1" dirty="0"/>
          </a:p>
        </p:txBody>
      </p:sp>
      <p:sp>
        <p:nvSpPr>
          <p:cNvPr id="117" name="직사각형 116"/>
          <p:cNvSpPr/>
          <p:nvPr/>
        </p:nvSpPr>
        <p:spPr>
          <a:xfrm>
            <a:off x="6225290" y="1743780"/>
            <a:ext cx="25519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100" b="1" dirty="0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*</a:t>
            </a:r>
            <a:endParaRPr lang="ko-KR" altLang="en-US" sz="1100" b="1" dirty="0"/>
          </a:p>
        </p:txBody>
      </p:sp>
      <p:sp>
        <p:nvSpPr>
          <p:cNvPr id="118" name="직사각형 117"/>
          <p:cNvSpPr/>
          <p:nvPr/>
        </p:nvSpPr>
        <p:spPr>
          <a:xfrm>
            <a:off x="6852475" y="1737918"/>
            <a:ext cx="25519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100" b="1" dirty="0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*</a:t>
            </a:r>
            <a:endParaRPr lang="ko-KR" altLang="en-US" sz="1100" b="1" dirty="0"/>
          </a:p>
        </p:txBody>
      </p:sp>
      <p:sp>
        <p:nvSpPr>
          <p:cNvPr id="119" name="직사각형 118"/>
          <p:cNvSpPr/>
          <p:nvPr/>
        </p:nvSpPr>
        <p:spPr>
          <a:xfrm>
            <a:off x="7479660" y="1732056"/>
            <a:ext cx="25519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100" b="1" dirty="0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*</a:t>
            </a:r>
            <a:endParaRPr lang="ko-KR" altLang="en-US" sz="1100" b="1" dirty="0"/>
          </a:p>
        </p:txBody>
      </p:sp>
      <p:sp>
        <p:nvSpPr>
          <p:cNvPr id="120" name="직사각형 119"/>
          <p:cNvSpPr/>
          <p:nvPr/>
        </p:nvSpPr>
        <p:spPr>
          <a:xfrm>
            <a:off x="7640853" y="2904364"/>
            <a:ext cx="25519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100" b="1" dirty="0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*</a:t>
            </a:r>
            <a:endParaRPr lang="ko-KR" altLang="en-US" sz="1100" b="1" dirty="0"/>
          </a:p>
        </p:txBody>
      </p:sp>
      <p:sp>
        <p:nvSpPr>
          <p:cNvPr id="121" name="직사각형 120"/>
          <p:cNvSpPr/>
          <p:nvPr/>
        </p:nvSpPr>
        <p:spPr>
          <a:xfrm>
            <a:off x="8347169" y="2880918"/>
            <a:ext cx="25519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100" b="1" dirty="0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*</a:t>
            </a:r>
            <a:endParaRPr lang="ko-KR" altLang="en-US" sz="1100" b="1" dirty="0"/>
          </a:p>
        </p:txBody>
      </p:sp>
      <p:grpSp>
        <p:nvGrpSpPr>
          <p:cNvPr id="16" name="그룹 15"/>
          <p:cNvGrpSpPr/>
          <p:nvPr/>
        </p:nvGrpSpPr>
        <p:grpSpPr>
          <a:xfrm>
            <a:off x="6934539" y="5750141"/>
            <a:ext cx="2536470" cy="230832"/>
            <a:chOff x="6996085" y="5609464"/>
            <a:chExt cx="2536470" cy="230832"/>
          </a:xfrm>
        </p:grpSpPr>
        <p:grpSp>
          <p:nvGrpSpPr>
            <p:cNvPr id="155" name="그룹 154"/>
            <p:cNvGrpSpPr/>
            <p:nvPr/>
          </p:nvGrpSpPr>
          <p:grpSpPr>
            <a:xfrm>
              <a:off x="8048609" y="5654826"/>
              <a:ext cx="1483946" cy="119584"/>
              <a:chOff x="5233059" y="1015377"/>
              <a:chExt cx="2935942" cy="207455"/>
            </a:xfrm>
          </p:grpSpPr>
          <p:sp>
            <p:nvSpPr>
              <p:cNvPr id="156" name="직사각형 155"/>
              <p:cNvSpPr/>
              <p:nvPr/>
            </p:nvSpPr>
            <p:spPr>
              <a:xfrm>
                <a:off x="5233059" y="1015377"/>
                <a:ext cx="658729" cy="207455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600" smtClean="0">
                    <a:solidFill>
                      <a:schemeClr val="tx1"/>
                    </a:solidFill>
                    <a:latin typeface="+mj-ea"/>
                    <a:ea typeface="+mj-ea"/>
                  </a:rPr>
                  <a:t>명목</a:t>
                </a:r>
                <a:endParaRPr lang="ko-KR" altLang="en-US" sz="600" dirty="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157" name="직사각형 156"/>
              <p:cNvSpPr/>
              <p:nvPr/>
            </p:nvSpPr>
            <p:spPr>
              <a:xfrm>
                <a:off x="5992130" y="1015377"/>
                <a:ext cx="658729" cy="20745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6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서열</a:t>
                </a:r>
                <a:endParaRPr lang="ko-KR" altLang="en-US" sz="600" dirty="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158" name="직사각형 157"/>
              <p:cNvSpPr/>
              <p:nvPr/>
            </p:nvSpPr>
            <p:spPr>
              <a:xfrm>
                <a:off x="6751201" y="1015377"/>
                <a:ext cx="658729" cy="20745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600" dirty="0">
                    <a:solidFill>
                      <a:schemeClr val="bg2">
                        <a:lumMod val="25000"/>
                      </a:schemeClr>
                    </a:solidFill>
                    <a:latin typeface="+mn-ea"/>
                  </a:rPr>
                  <a:t>등간</a:t>
                </a:r>
                <a:endParaRPr lang="ko-KR" altLang="en-US" sz="600" dirty="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159" name="직사각형 158"/>
              <p:cNvSpPr/>
              <p:nvPr/>
            </p:nvSpPr>
            <p:spPr>
              <a:xfrm>
                <a:off x="7510272" y="1015377"/>
                <a:ext cx="658729" cy="207455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ko-KR" altLang="en-US" sz="600" dirty="0">
                    <a:solidFill>
                      <a:schemeClr val="bg1"/>
                    </a:solidFill>
                    <a:latin typeface="+mn-ea"/>
                  </a:rPr>
                  <a:t>비율</a:t>
                </a:r>
                <a:endParaRPr lang="ko-KR" altLang="en-US" sz="600" dirty="0">
                  <a:solidFill>
                    <a:schemeClr val="bg1"/>
                  </a:solidFill>
                  <a:latin typeface="+mj-ea"/>
                  <a:ea typeface="+mj-ea"/>
                </a:endParaRPr>
              </a:p>
            </p:txBody>
          </p:sp>
        </p:grpSp>
        <p:sp>
          <p:nvSpPr>
            <p:cNvPr id="122" name="직사각형 121"/>
            <p:cNvSpPr/>
            <p:nvPr/>
          </p:nvSpPr>
          <p:spPr>
            <a:xfrm>
              <a:off x="6996085" y="5609464"/>
              <a:ext cx="986167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sz="900" dirty="0" smtClean="0">
                  <a:solidFill>
                    <a:schemeClr val="bg2">
                      <a:lumMod val="25000"/>
                    </a:schemeClr>
                  </a:solidFill>
                  <a:sym typeface="Wingdings" panose="05000000000000000000" pitchFamily="2" charset="2"/>
                </a:rPr>
                <a:t>*</a:t>
              </a:r>
              <a:r>
                <a:rPr lang="ko-KR" altLang="en-US" sz="900" smtClean="0">
                  <a:solidFill>
                    <a:schemeClr val="bg2">
                      <a:lumMod val="25000"/>
                    </a:schemeClr>
                  </a:solidFill>
                  <a:sym typeface="Wingdings" panose="05000000000000000000" pitchFamily="2" charset="2"/>
                </a:rPr>
                <a:t>는 결측치 보정</a:t>
              </a:r>
              <a:endParaRPr lang="ko-KR" altLang="en-US" sz="900" dirty="0"/>
            </a:p>
          </p:txBody>
        </p:sp>
      </p:grpSp>
      <p:graphicFrame>
        <p:nvGraphicFramePr>
          <p:cNvPr id="123" name="표 1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3025842"/>
              </p:ext>
            </p:extLst>
          </p:nvPr>
        </p:nvGraphicFramePr>
        <p:xfrm>
          <a:off x="577041" y="4419473"/>
          <a:ext cx="3261533" cy="13699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35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09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25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135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5360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ㅇㅇㅇ</a:t>
                      </a:r>
                      <a:endParaRPr lang="ko-KR" altLang="en-US" sz="105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ㅇㅇ</a:t>
                      </a:r>
                      <a:endParaRPr lang="ko-KR" altLang="en-US" sz="105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5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ㅇㅇㅇ</a:t>
                      </a:r>
                      <a:endParaRPr lang="ko-KR" altLang="en-US" sz="105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3607">
                <a:tc rowSpan="6"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en-US" altLang="ko-KR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Key</a:t>
                      </a:r>
                      <a:r>
                        <a:rPr lang="ko-KR" altLang="en-US" sz="900" kern="120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는</a:t>
                      </a:r>
                      <a:endParaRPr lang="en-US" altLang="ko-KR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Lot </a:t>
                      </a:r>
                    </a:p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번호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정상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r>
                        <a:rPr lang="ko-KR" altLang="en-US" sz="900" kern="1200" dirty="0" err="1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ㅇㅇㅇ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합격</a:t>
                      </a:r>
                      <a:endParaRPr lang="en-US" altLang="ko-KR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r" defTabSz="914400" rtl="0" eaLnBrk="1" latinLnBrk="1" hangingPunct="1"/>
                      <a:r>
                        <a:rPr lang="ko-KR" altLang="en-US" sz="900" kern="1200" dirty="0" err="1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ㅇㅇㅇㅇ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351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단선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r>
                        <a:rPr lang="ko-KR" altLang="en-US" sz="900" kern="1200" dirty="0" err="1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ㅇ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36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정상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r>
                        <a:rPr lang="ko-KR" altLang="en-US" sz="900" kern="1200" dirty="0" err="1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ㅇㅇㅇ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불합격</a:t>
                      </a:r>
                      <a:endParaRPr lang="en-US" altLang="ko-KR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r" defTabSz="914400" rtl="0" eaLnBrk="1" latinLnBrk="1" hangingPunct="1"/>
                      <a:r>
                        <a:rPr lang="ko-KR" altLang="en-US" sz="900" kern="1200" dirty="0" err="1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ㅇㅇ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36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단선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r>
                        <a:rPr lang="en-US" altLang="ko-KR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0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36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정상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r>
                        <a:rPr lang="ko-KR" altLang="en-US" sz="900" kern="1200" dirty="0" err="1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ㅇㅇㅇㅇㅇ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1200" dirty="0" err="1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결측</a:t>
                      </a:r>
                      <a:endParaRPr lang="en-US" altLang="ko-KR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r" defTabSz="914400" rtl="0" eaLnBrk="1" latinLnBrk="1" hangingPunct="1"/>
                      <a:r>
                        <a:rPr lang="ko-KR" altLang="en-US" sz="900" kern="1200" dirty="0" err="1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ㅇㅇㅇㅇ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940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단선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r>
                        <a:rPr lang="ko-KR" altLang="en-US" sz="900" kern="1200" dirty="0" err="1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ㅇㅇ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3607"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kern="1200" dirty="0" err="1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ㅇㅇㅇ</a:t>
                      </a:r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단선 </a:t>
                      </a:r>
                      <a:r>
                        <a:rPr lang="ko-KR" altLang="en-US" sz="900" kern="1200" dirty="0" err="1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ㅇㅇ</a:t>
                      </a:r>
                      <a:endParaRPr lang="ko-KR" altLang="en-US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endParaRPr lang="en-US" altLang="ko-KR" sz="900" b="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50000"/>
                        </a:lnSpc>
                      </a:pPr>
                      <a:r>
                        <a:rPr lang="ko-KR" altLang="en-US" sz="900" kern="12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검사 수행 </a:t>
                      </a:r>
                      <a:r>
                        <a:rPr lang="ko-KR" altLang="en-US" sz="900" kern="1200" dirty="0" err="1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  <a:cs typeface="+mn-cs"/>
                        </a:rPr>
                        <a:t>ㅇㅇㅇ</a:t>
                      </a:r>
                      <a:endParaRPr lang="en-US" altLang="ko-KR" sz="900" kern="12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4667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3. </a:t>
            </a:r>
            <a:r>
              <a:rPr lang="ko-KR" altLang="en-US" dirty="0" err="1" smtClean="0">
                <a:latin typeface="+mj-ea"/>
              </a:rPr>
              <a:t>ㅇㅇ</a:t>
            </a:r>
            <a:r>
              <a:rPr lang="en-US" altLang="ko-KR" dirty="0" smtClean="0">
                <a:latin typeface="+mj-ea"/>
              </a:rPr>
              <a:t> </a:t>
            </a:r>
            <a:r>
              <a:rPr lang="en-US" altLang="ko-KR" dirty="0">
                <a:latin typeface="+mj-ea"/>
              </a:rPr>
              <a:t>– </a:t>
            </a:r>
            <a:r>
              <a:rPr lang="en-US" altLang="ko-KR" dirty="0" smtClean="0">
                <a:latin typeface="+mj-ea"/>
              </a:rPr>
              <a:t>2) </a:t>
            </a:r>
            <a:r>
              <a:rPr lang="ko-KR" altLang="en-US" dirty="0" smtClean="0">
                <a:latin typeface="+mj-ea"/>
              </a:rPr>
              <a:t>데이터에 귀를 </a:t>
            </a:r>
            <a:r>
              <a:rPr lang="ko-KR" altLang="en-US" dirty="0" err="1" smtClean="0">
                <a:latin typeface="+mj-ea"/>
              </a:rPr>
              <a:t>귀울여</a:t>
            </a:r>
            <a:r>
              <a:rPr lang="ko-KR" altLang="en-US" dirty="0" smtClean="0">
                <a:latin typeface="+mj-ea"/>
              </a:rPr>
              <a:t> 보았습니다</a:t>
            </a:r>
            <a:r>
              <a:rPr lang="en-US" altLang="ko-KR" dirty="0" smtClean="0">
                <a:latin typeface="+mj-ea"/>
              </a:rPr>
              <a:t>. (1/2) </a:t>
            </a:r>
            <a:endParaRPr lang="en-US" altLang="ko-KR" dirty="0">
              <a:latin typeface="+mj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57231" y="813098"/>
            <a:ext cx="3874925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smtClean="0">
                <a:solidFill>
                  <a:prstClr val="black"/>
                </a:solidFill>
                <a:latin typeface="맑은 고딕" panose="020B0503020000020004" pitchFamily="50" charset="-127"/>
              </a:rPr>
              <a:t>각 변수들의 기술 통계 분석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410534" y="1139022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1" name="TextBox 10"/>
          <p:cNvSpPr txBox="1"/>
          <p:nvPr/>
        </p:nvSpPr>
        <p:spPr>
          <a:xfrm>
            <a:off x="320187" y="1239264"/>
            <a:ext cx="4357321" cy="28910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최대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/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최소 데이터 분포 확인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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이상치 제거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pic>
        <p:nvPicPr>
          <p:cNvPr id="13" name="그림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9" t="17603" r="3307" b="18989"/>
          <a:stretch/>
        </p:blipFill>
        <p:spPr>
          <a:xfrm>
            <a:off x="1354013" y="1652954"/>
            <a:ext cx="2400301" cy="826477"/>
          </a:xfrm>
          <a:prstGeom prst="rect">
            <a:avLst/>
          </a:prstGeom>
        </p:spPr>
      </p:pic>
      <p:sp>
        <p:nvSpPr>
          <p:cNvPr id="2" name="직사각형 1"/>
          <p:cNvSpPr/>
          <p:nvPr/>
        </p:nvSpPr>
        <p:spPr>
          <a:xfrm>
            <a:off x="631133" y="1749642"/>
            <a:ext cx="723275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050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최대</a:t>
            </a:r>
            <a:endParaRPr lang="ko-KR" altLang="en-US" sz="1050" dirty="0"/>
          </a:p>
        </p:txBody>
      </p:sp>
      <p:sp>
        <p:nvSpPr>
          <p:cNvPr id="15" name="직사각형 14"/>
          <p:cNvSpPr/>
          <p:nvPr/>
        </p:nvSpPr>
        <p:spPr>
          <a:xfrm>
            <a:off x="575530" y="2157019"/>
            <a:ext cx="85792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1050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경최소</a:t>
            </a:r>
            <a:endParaRPr lang="ko-KR" altLang="en-US" sz="1050" dirty="0"/>
          </a:p>
        </p:txBody>
      </p:sp>
      <p:grpSp>
        <p:nvGrpSpPr>
          <p:cNvPr id="3" name="그룹 2"/>
          <p:cNvGrpSpPr/>
          <p:nvPr/>
        </p:nvGrpSpPr>
        <p:grpSpPr>
          <a:xfrm>
            <a:off x="1414601" y="2440641"/>
            <a:ext cx="2392233" cy="230832"/>
            <a:chOff x="1089286" y="2743173"/>
            <a:chExt cx="2392233" cy="307237"/>
          </a:xfrm>
        </p:grpSpPr>
        <p:sp>
          <p:nvSpPr>
            <p:cNvPr id="16" name="직사각형 15"/>
            <p:cNvSpPr/>
            <p:nvPr/>
          </p:nvSpPr>
          <p:spPr>
            <a:xfrm>
              <a:off x="1089286" y="2743173"/>
              <a:ext cx="248786" cy="30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5</a:t>
              </a:r>
              <a:endParaRPr lang="ko-KR" altLang="en-US" sz="900" dirty="0"/>
            </a:p>
          </p:txBody>
        </p:sp>
        <p:sp>
          <p:nvSpPr>
            <p:cNvPr id="17" name="직사각형 16"/>
            <p:cNvSpPr/>
            <p:nvPr/>
          </p:nvSpPr>
          <p:spPr>
            <a:xfrm>
              <a:off x="1557421" y="2743173"/>
              <a:ext cx="312906" cy="30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10</a:t>
              </a:r>
              <a:endParaRPr lang="ko-KR" altLang="en-US" sz="900" dirty="0"/>
            </a:p>
          </p:txBody>
        </p:sp>
        <p:sp>
          <p:nvSpPr>
            <p:cNvPr id="18" name="직사각형 17"/>
            <p:cNvSpPr/>
            <p:nvPr/>
          </p:nvSpPr>
          <p:spPr>
            <a:xfrm>
              <a:off x="2094485" y="2743173"/>
              <a:ext cx="312906" cy="30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15</a:t>
              </a:r>
              <a:endParaRPr lang="ko-KR" altLang="en-US" sz="900" dirty="0"/>
            </a:p>
          </p:txBody>
        </p:sp>
        <p:sp>
          <p:nvSpPr>
            <p:cNvPr id="19" name="직사각형 18"/>
            <p:cNvSpPr/>
            <p:nvPr/>
          </p:nvSpPr>
          <p:spPr>
            <a:xfrm>
              <a:off x="2631549" y="2743173"/>
              <a:ext cx="312906" cy="30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20</a:t>
              </a:r>
              <a:endParaRPr lang="ko-KR" altLang="en-US" sz="900" dirty="0"/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3168613" y="2743173"/>
              <a:ext cx="312906" cy="307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sz="900" dirty="0" smtClean="0">
                  <a:solidFill>
                    <a:prstClr val="black"/>
                  </a:solidFill>
                  <a:latin typeface="맑은 고딕" panose="020B0503020000020004" pitchFamily="50" charset="-127"/>
                  <a:sym typeface="Wingdings" panose="05000000000000000000" pitchFamily="2" charset="2"/>
                </a:rPr>
                <a:t>25</a:t>
              </a:r>
              <a:endParaRPr lang="ko-KR" altLang="en-US" sz="900" dirty="0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323117" y="2877563"/>
            <a:ext cx="4357321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각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전체 통계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&amp;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규격 통과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Lot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의 통계를 비교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graphicFrame>
        <p:nvGraphicFramePr>
          <p:cNvPr id="76" name="표 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0006746"/>
              </p:ext>
            </p:extLst>
          </p:nvPr>
        </p:nvGraphicFramePr>
        <p:xfrm>
          <a:off x="543796" y="3556286"/>
          <a:ext cx="3908665" cy="12443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09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600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660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14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14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14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214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0288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</a:rPr>
                        <a:t>Fe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lang="ko-KR" altLang="en-US" sz="8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규격 </a:t>
                      </a: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8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초과 포함</a:t>
                      </a:r>
                      <a:r>
                        <a:rPr lang="en-US" altLang="ko-KR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</a:p>
                    <a:p>
                      <a:pPr algn="ctr" fontAlgn="ctr"/>
                      <a:r>
                        <a:rPr lang="ko-KR" alt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체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규격 통과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88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등급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2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등급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3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등급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4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등급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전체</a:t>
                      </a: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771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u="none" strike="noStrike" dirty="0">
                          <a:effectLst/>
                          <a:latin typeface="+mn-ea"/>
                          <a:ea typeface="+mn-ea"/>
                        </a:rPr>
                        <a:t>평균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1" hangingPunct="1"/>
                      <a:endParaRPr lang="ko-KR" altLang="en-US" sz="1000" b="1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b="1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b="1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b="1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b="1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b="1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771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중앙값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771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최대값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771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u="none" strike="noStrike" dirty="0">
                          <a:effectLst/>
                          <a:latin typeface="+mn-ea"/>
                          <a:ea typeface="+mn-ea"/>
                        </a:rPr>
                        <a:t>최소값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771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개수</a:t>
                      </a:r>
                      <a:endParaRPr lang="ko-KR" alt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0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5" name="TextBox 84"/>
          <p:cNvSpPr txBox="1"/>
          <p:nvPr/>
        </p:nvSpPr>
        <p:spPr>
          <a:xfrm>
            <a:off x="389438" y="3124152"/>
            <a:ext cx="4433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은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등급 레벨에 상관없이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이하면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통과임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383577" y="4938300"/>
            <a:ext cx="4433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실제 다른 규격으로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1,2,3,4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등급을 나뉘어져 평균을 계산해 보면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각 등급별 평균이 상이함을 확인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따라서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,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에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대한 규격을 보다 상세화 필요 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grpSp>
        <p:nvGrpSpPr>
          <p:cNvPr id="87" name="그룹 86"/>
          <p:cNvGrpSpPr/>
          <p:nvPr/>
        </p:nvGrpSpPr>
        <p:grpSpPr>
          <a:xfrm>
            <a:off x="5126142" y="833613"/>
            <a:ext cx="4250629" cy="325924"/>
            <a:chOff x="5126142" y="833613"/>
            <a:chExt cx="4250629" cy="325924"/>
          </a:xfrm>
        </p:grpSpPr>
        <p:sp>
          <p:nvSpPr>
            <p:cNvPr id="88" name="TextBox 87"/>
            <p:cNvSpPr txBox="1"/>
            <p:nvPr/>
          </p:nvSpPr>
          <p:spPr>
            <a:xfrm>
              <a:off x="5372839" y="833613"/>
              <a:ext cx="3874925" cy="325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인자간 상관성 분석</a:t>
              </a:r>
              <a:endPara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endParaRPr>
            </a:p>
          </p:txBody>
        </p:sp>
        <p:cxnSp>
          <p:nvCxnSpPr>
            <p:cNvPr id="89" name="직선 연결선 88"/>
            <p:cNvCxnSpPr/>
            <p:nvPr/>
          </p:nvCxnSpPr>
          <p:spPr>
            <a:xfrm>
              <a:off x="5126142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121" name="TextBox 120"/>
          <p:cNvSpPr txBox="1"/>
          <p:nvPr/>
        </p:nvSpPr>
        <p:spPr>
          <a:xfrm>
            <a:off x="5310043" y="4622257"/>
            <a:ext cx="4504924" cy="349702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71450" lvl="1" indent="-171450">
              <a:lnSpc>
                <a:spcPct val="150000"/>
              </a:lnSpc>
              <a:spcAft>
                <a:spcPts val="600"/>
              </a:spcAft>
              <a:buFontTx/>
              <a:buChar char="-"/>
            </a:pP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ㅇㅇ는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장입재별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sym typeface="Wingdings" panose="05000000000000000000" pitchFamily="2" charset="2"/>
              </a:rPr>
              <a:t> 상관성이 높은 경우와 그렇지 않은 경우 존재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  <a:sym typeface="Wingdings" panose="05000000000000000000" pitchFamily="2" charset="2"/>
            </a:endParaRPr>
          </a:p>
        </p:txBody>
      </p:sp>
      <p:sp>
        <p:nvSpPr>
          <p:cNvPr id="125" name="직사각형 124">
            <a:hlinkClick r:id="rId3" action="ppaction://hlinksldjump"/>
          </p:cNvPr>
          <p:cNvSpPr/>
          <p:nvPr/>
        </p:nvSpPr>
        <p:spPr>
          <a:xfrm>
            <a:off x="3959469" y="3238501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dirty="0" smtClean="0">
                <a:solidFill>
                  <a:schemeClr val="tx1"/>
                </a:solidFill>
              </a:rPr>
              <a:t>규격상세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120787" y="1239264"/>
            <a:ext cx="45049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0" lvl="1">
              <a:lnSpc>
                <a:spcPct val="120000"/>
              </a:lnSpc>
              <a:spcAft>
                <a:spcPts val="600"/>
              </a:spcAft>
            </a:pP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Q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. 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/</a:t>
            </a: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ㅇㅇ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변수들 간의 상관성은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graphicFrame>
        <p:nvGraphicFramePr>
          <p:cNvPr id="29" name="표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1990680"/>
              </p:ext>
            </p:extLst>
          </p:nvPr>
        </p:nvGraphicFramePr>
        <p:xfrm>
          <a:off x="5261834" y="1988778"/>
          <a:ext cx="4253078" cy="2520199"/>
        </p:xfrm>
        <a:graphic>
          <a:graphicData uri="http://schemas.openxmlformats.org/drawingml/2006/table">
            <a:tbl>
              <a:tblPr firstRow="1" firstCol="1" bandRow="1"/>
              <a:tblGrid>
                <a:gridCol w="8853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53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53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970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66225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1" kern="1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X1</a:t>
                      </a:r>
                      <a:endParaRPr lang="ko-KR" sz="1000" b="1" kern="100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1" kern="100" dirty="0" smtClean="0"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X2</a:t>
                      </a:r>
                      <a:endParaRPr lang="ko-KR" sz="1000" b="1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상관계수</a:t>
                      </a:r>
                      <a:endParaRPr lang="ko-KR" sz="1000" b="1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1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비고</a:t>
                      </a:r>
                      <a:endParaRPr lang="ko-KR" sz="1000" b="1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381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.000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너무 미비하여 생긴 오류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381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.000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kern="100" dirty="0" err="1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총중량은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o-KR" altLang="en-US" sz="1000" b="0" kern="100" dirty="0" err="1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실중량</a:t>
                      </a: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 기반 측정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381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-0.992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381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1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1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1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0.911</a:t>
                      </a:r>
                      <a:endParaRPr lang="en-US" altLang="ko-KR" sz="1000" b="1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1" kern="100" baseline="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예상하지 못 한 값</a:t>
                      </a:r>
                      <a:endParaRPr lang="en-US" altLang="ko-KR" sz="1000" b="1" kern="100" baseline="300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381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0.870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381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0.869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당연한 값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381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-0.864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381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0.815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ko-KR" altLang="en-US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  <a:cs typeface="Times New Roman" panose="02020603050405020304" pitchFamily="18" charset="0"/>
                        </a:rPr>
                        <a:t>당연한 값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381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0.777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381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0.687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859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0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0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0.576</a:t>
                      </a: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en-US" altLang="ko-KR" sz="1000" b="0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4779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1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endParaRPr lang="ko-KR" sz="1000" b="1" kern="100" dirty="0"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000" b="1" kern="100" dirty="0" smtClean="0"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0.575</a:t>
                      </a:r>
                      <a:endParaRPr lang="ko-KR" sz="1000" b="1" kern="100" dirty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1" kern="100" baseline="30000" dirty="0" smtClean="0"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5252419" y="1565571"/>
            <a:ext cx="43144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A.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</a:rPr>
              <a:t>상관성이 큰 순서대로 나열하면 다음과 같음</a:t>
            </a:r>
            <a:endParaRPr lang="ko-KR" altLang="en-US" sz="120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466371"/>
              </p:ext>
            </p:extLst>
          </p:nvPr>
        </p:nvGraphicFramePr>
        <p:xfrm>
          <a:off x="5532582" y="4984461"/>
          <a:ext cx="3999344" cy="12862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9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48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949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374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ㅇㅇㅇ</a:t>
                      </a:r>
                      <a:endParaRPr lang="en-US" altLang="ko-KR" sz="1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개수</a:t>
                      </a:r>
                      <a:endParaRPr lang="en-US" altLang="ko-KR" sz="10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관계수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748">
                <a:tc>
                  <a:txBody>
                    <a:bodyPr/>
                    <a:lstStyle/>
                    <a:p>
                      <a:pPr algn="ct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000" b="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3748">
                <a:tc>
                  <a:txBody>
                    <a:bodyPr/>
                    <a:lstStyle/>
                    <a:p>
                      <a:pPr algn="ct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dirty="0" smtClean="0">
                        <a:solidFill>
                          <a:schemeClr val="tx1"/>
                        </a:solidFill>
                        <a:latin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3748">
                <a:tc>
                  <a:txBody>
                    <a:bodyPr/>
                    <a:lstStyle/>
                    <a:p>
                      <a:pPr algn="ct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1000" b="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3748">
                <a:tc>
                  <a:txBody>
                    <a:bodyPr/>
                    <a:lstStyle/>
                    <a:p>
                      <a:pPr marL="0" marR="0" indent="0" algn="ctr" defTabSz="914400" rtl="0" eaLnBrk="1" fontAlgn="b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5066" marR="5066" marT="5066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3748">
                <a:tc>
                  <a:txBody>
                    <a:bodyPr/>
                    <a:lstStyle/>
                    <a:p>
                      <a:pPr algn="ct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374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나머지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8" name="직사각형 27">
            <a:hlinkClick r:id="rId4" action="ppaction://hlinksldjump"/>
          </p:cNvPr>
          <p:cNvSpPr/>
          <p:nvPr/>
        </p:nvSpPr>
        <p:spPr>
          <a:xfrm>
            <a:off x="3809484" y="850903"/>
            <a:ext cx="976619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dirty="0" smtClean="0">
                <a:solidFill>
                  <a:schemeClr val="tx1"/>
                </a:solidFill>
              </a:rPr>
              <a:t>기술 통계 분석이란</a:t>
            </a:r>
            <a:r>
              <a:rPr lang="en-US" altLang="ko-KR" sz="800" dirty="0" smtClean="0">
                <a:solidFill>
                  <a:schemeClr val="tx1"/>
                </a:solidFill>
              </a:rPr>
              <a:t>?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31" name="직사각형 30">
            <a:hlinkClick r:id="rId5" action="ppaction://hlinksldjump"/>
          </p:cNvPr>
          <p:cNvSpPr/>
          <p:nvPr/>
        </p:nvSpPr>
        <p:spPr>
          <a:xfrm>
            <a:off x="8479936" y="901705"/>
            <a:ext cx="1181709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altLang="ko-KR" sz="800" dirty="0" smtClean="0">
                <a:solidFill>
                  <a:schemeClr val="tx1"/>
                </a:solidFill>
              </a:rPr>
              <a:t>X</a:t>
            </a:r>
            <a:r>
              <a:rPr lang="ko-KR" altLang="en-US" sz="800" smtClean="0">
                <a:solidFill>
                  <a:schemeClr val="tx1"/>
                </a:solidFill>
              </a:rPr>
              <a:t>인자간 상관분석이란</a:t>
            </a:r>
            <a:r>
              <a:rPr lang="en-US" altLang="ko-KR" sz="800" dirty="0" smtClean="0">
                <a:solidFill>
                  <a:schemeClr val="tx1"/>
                </a:solidFill>
              </a:rPr>
              <a:t>?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cxnSp>
        <p:nvCxnSpPr>
          <p:cNvPr id="9" name="직선 화살표 연결선 8"/>
          <p:cNvCxnSpPr/>
          <p:nvPr/>
        </p:nvCxnSpPr>
        <p:spPr>
          <a:xfrm flipV="1">
            <a:off x="1362075" y="2457450"/>
            <a:ext cx="2700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7950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3. </a:t>
            </a:r>
            <a:r>
              <a:rPr lang="ko-KR" altLang="en-US" dirty="0" err="1" smtClean="0">
                <a:latin typeface="+mj-ea"/>
              </a:rPr>
              <a:t>ㅇㅇ</a:t>
            </a:r>
            <a:r>
              <a:rPr lang="en-US" altLang="ko-KR" dirty="0" smtClean="0">
                <a:latin typeface="+mj-ea"/>
              </a:rPr>
              <a:t> </a:t>
            </a:r>
            <a:r>
              <a:rPr lang="en-US" altLang="ko-KR" dirty="0">
                <a:latin typeface="+mj-ea"/>
              </a:rPr>
              <a:t>– </a:t>
            </a:r>
            <a:r>
              <a:rPr lang="en-US" altLang="ko-KR" dirty="0" smtClean="0">
                <a:latin typeface="+mj-ea"/>
              </a:rPr>
              <a:t>2) </a:t>
            </a:r>
            <a:r>
              <a:rPr lang="ko-KR" altLang="en-US" dirty="0" smtClean="0">
                <a:latin typeface="+mj-ea"/>
              </a:rPr>
              <a:t>데이터에 귀를 </a:t>
            </a:r>
            <a:r>
              <a:rPr lang="ko-KR" altLang="en-US" dirty="0" err="1" smtClean="0">
                <a:latin typeface="+mj-ea"/>
              </a:rPr>
              <a:t>귀울여</a:t>
            </a:r>
            <a:r>
              <a:rPr lang="ko-KR" altLang="en-US" dirty="0" smtClean="0">
                <a:latin typeface="+mj-ea"/>
              </a:rPr>
              <a:t> 보았습니다</a:t>
            </a:r>
            <a:r>
              <a:rPr lang="en-US" altLang="ko-KR" dirty="0" smtClean="0">
                <a:latin typeface="+mj-ea"/>
              </a:rPr>
              <a:t>. (2/2) </a:t>
            </a:r>
            <a:endParaRPr lang="en-US" altLang="ko-KR" dirty="0">
              <a:latin typeface="+mj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3484" y="813098"/>
            <a:ext cx="4262418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>
                <a:solidFill>
                  <a:prstClr val="black"/>
                </a:solidFill>
                <a:latin typeface="맑은 고딕" panose="020B0503020000020004" pitchFamily="50" charset="-127"/>
              </a:rPr>
              <a:t>차분</a:t>
            </a:r>
            <a:r>
              <a:rPr kumimoji="1" lang="en-US" altLang="ko-KR" sz="14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(</a:t>
            </a:r>
            <a:r>
              <a:rPr kumimoji="1" lang="ko-KR" altLang="en-US" sz="1400" b="1">
                <a:solidFill>
                  <a:prstClr val="black"/>
                </a:solidFill>
                <a:latin typeface="맑은 고딕" panose="020B0503020000020004" pitchFamily="50" charset="-127"/>
              </a:rPr>
              <a:t>직전 데이터와의 </a:t>
            </a:r>
            <a:r>
              <a:rPr kumimoji="1" lang="ko-KR" altLang="en-US" sz="1400" b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차이</a:t>
            </a: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) </a:t>
            </a:r>
            <a:r>
              <a:rPr kumimoji="1" lang="ko-KR" altLang="en-US" sz="1400" b="1" smtClean="0">
                <a:solidFill>
                  <a:prstClr val="black"/>
                </a:solidFill>
                <a:latin typeface="맑은 고딕" panose="020B0503020000020004" pitchFamily="50" charset="-127"/>
              </a:rPr>
              <a:t>파생변수 분석</a:t>
            </a:r>
            <a:endParaRPr kumimoji="1" lang="ko-KR" altLang="en-US" sz="1400" b="1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410534" y="1139022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7" name="TextBox 16"/>
          <p:cNvSpPr txBox="1"/>
          <p:nvPr/>
        </p:nvSpPr>
        <p:spPr>
          <a:xfrm>
            <a:off x="351374" y="2314200"/>
            <a:ext cx="4433152" cy="3087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기술 </a:t>
            </a:r>
            <a:r>
              <a:rPr lang="ko-KR" altLang="en-US" sz="1300" b="1" dirty="0" err="1">
                <a:solidFill>
                  <a:prstClr val="black"/>
                </a:solidFill>
                <a:latin typeface="맑은 고딕" panose="020B0503020000020004" pitchFamily="50" charset="-127"/>
              </a:rPr>
              <a:t>통계분석해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 보니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, </a:t>
            </a:r>
            <a:r>
              <a:rPr lang="ko-KR" altLang="en-US" sz="1300" b="1">
                <a:solidFill>
                  <a:prstClr val="black"/>
                </a:solidFill>
                <a:latin typeface="맑은 고딕" panose="020B0503020000020004" pitchFamily="50" charset="-127"/>
              </a:rPr>
              <a:t>최대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/</a:t>
            </a:r>
            <a:r>
              <a:rPr lang="ko-KR" altLang="en-US" sz="1300" b="1">
                <a:solidFill>
                  <a:prstClr val="black"/>
                </a:solidFill>
                <a:latin typeface="맑은 고딕" panose="020B0503020000020004" pitchFamily="50" charset="-127"/>
              </a:rPr>
              <a:t>최소 이상치 확인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2959889" y="1363395"/>
            <a:ext cx="1375991" cy="823518"/>
            <a:chOff x="2959889" y="2120776"/>
            <a:chExt cx="1375991" cy="1070570"/>
          </a:xfrm>
        </p:grpSpPr>
        <p:sp>
          <p:nvSpPr>
            <p:cNvPr id="19" name="직사각형 18"/>
            <p:cNvSpPr/>
            <p:nvPr/>
          </p:nvSpPr>
          <p:spPr>
            <a:xfrm>
              <a:off x="2969348" y="2120776"/>
              <a:ext cx="658729" cy="31318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8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8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3677151" y="2120776"/>
              <a:ext cx="658729" cy="31318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8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ko-KR" altLang="en-US" sz="8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2" name="직사각형 21"/>
            <p:cNvSpPr/>
            <p:nvPr/>
          </p:nvSpPr>
          <p:spPr>
            <a:xfrm>
              <a:off x="2959889" y="2499467"/>
              <a:ext cx="658729" cy="31318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8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en-US" altLang="ko-KR" sz="800" dirty="0" smtClean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5" name="직사각형 24"/>
            <p:cNvSpPr/>
            <p:nvPr/>
          </p:nvSpPr>
          <p:spPr>
            <a:xfrm>
              <a:off x="3674264" y="2499467"/>
              <a:ext cx="658729" cy="31318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8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en-US" altLang="ko-KR" sz="800" dirty="0" smtClean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2966239" y="2878158"/>
              <a:ext cx="658729" cy="31318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ko-KR" altLang="en-US" sz="800" dirty="0" err="1" smtClean="0">
                  <a:solidFill>
                    <a:schemeClr val="bg1"/>
                  </a:solidFill>
                  <a:latin typeface="+mn-ea"/>
                </a:rPr>
                <a:t>ㅇㅇ</a:t>
              </a:r>
              <a:endParaRPr lang="en-US" altLang="ko-KR" sz="800" dirty="0" smtClean="0">
                <a:solidFill>
                  <a:schemeClr val="bg1"/>
                </a:solidFill>
                <a:latin typeface="+mn-ea"/>
              </a:endParaRPr>
            </a:p>
          </p:txBody>
        </p:sp>
      </p:grpSp>
      <p:grpSp>
        <p:nvGrpSpPr>
          <p:cNvPr id="27" name="그룹 26"/>
          <p:cNvGrpSpPr/>
          <p:nvPr/>
        </p:nvGrpSpPr>
        <p:grpSpPr>
          <a:xfrm>
            <a:off x="595136" y="1408837"/>
            <a:ext cx="2425155" cy="798656"/>
            <a:chOff x="631357" y="2896962"/>
            <a:chExt cx="3433335" cy="979850"/>
          </a:xfrm>
        </p:grpSpPr>
        <p:cxnSp>
          <p:nvCxnSpPr>
            <p:cNvPr id="28" name="직선 연결선 27"/>
            <p:cNvCxnSpPr/>
            <p:nvPr/>
          </p:nvCxnSpPr>
          <p:spPr>
            <a:xfrm>
              <a:off x="955094" y="3596168"/>
              <a:ext cx="2520000" cy="0"/>
            </a:xfrm>
            <a:prstGeom prst="line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1462549" y="3601266"/>
              <a:ext cx="272143" cy="261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dirty="0" smtClean="0">
                  <a:latin typeface="+mj-ea"/>
                  <a:ea typeface="+mj-ea"/>
                </a:rPr>
                <a:t>a</a:t>
              </a:r>
              <a:endParaRPr lang="ko-KR" altLang="en-US" sz="1100" dirty="0">
                <a:latin typeface="+mj-ea"/>
                <a:ea typeface="+mj-ea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2354448" y="3601266"/>
              <a:ext cx="615765" cy="261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100" dirty="0" smtClean="0">
                  <a:latin typeface="+mj-ea"/>
                </a:rPr>
                <a:t>a+1</a:t>
              </a:r>
              <a:endParaRPr lang="ko-KR" altLang="en-US" sz="1100" dirty="0">
                <a:latin typeface="+mj-ea"/>
              </a:endParaRPr>
            </a:p>
          </p:txBody>
        </p:sp>
        <p:sp>
          <p:nvSpPr>
            <p:cNvPr id="31" name="직사각형 30"/>
            <p:cNvSpPr/>
            <p:nvPr/>
          </p:nvSpPr>
          <p:spPr>
            <a:xfrm>
              <a:off x="3421781" y="3615201"/>
              <a:ext cx="325730" cy="26161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100" dirty="0">
                  <a:latin typeface="+mj-ea"/>
                  <a:ea typeface="+mj-ea"/>
                </a:rPr>
                <a:t>행</a:t>
              </a:r>
            </a:p>
          </p:txBody>
        </p:sp>
        <p:cxnSp>
          <p:nvCxnSpPr>
            <p:cNvPr id="32" name="직선 연결선 31"/>
            <p:cNvCxnSpPr/>
            <p:nvPr/>
          </p:nvCxnSpPr>
          <p:spPr>
            <a:xfrm flipV="1">
              <a:off x="1025200" y="2905750"/>
              <a:ext cx="1" cy="781627"/>
            </a:xfrm>
            <a:prstGeom prst="line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직사각형 32"/>
            <p:cNvSpPr/>
            <p:nvPr/>
          </p:nvSpPr>
          <p:spPr>
            <a:xfrm>
              <a:off x="631357" y="2896962"/>
              <a:ext cx="325730" cy="34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o-KR" altLang="en-US" sz="1100" dirty="0" smtClean="0">
                  <a:solidFill>
                    <a:schemeClr val="bg2">
                      <a:lumMod val="25000"/>
                    </a:schemeClr>
                  </a:solidFill>
                </a:rPr>
                <a:t>값</a:t>
              </a:r>
              <a:endParaRPr lang="ko-KR" altLang="en-US" sz="1100" dirty="0">
                <a:latin typeface="+mj-ea"/>
                <a:ea typeface="+mj-ea"/>
              </a:endParaRPr>
            </a:p>
          </p:txBody>
        </p:sp>
        <p:cxnSp>
          <p:nvCxnSpPr>
            <p:cNvPr id="34" name="직선 연결선 33"/>
            <p:cNvCxnSpPr/>
            <p:nvPr/>
          </p:nvCxnSpPr>
          <p:spPr>
            <a:xfrm>
              <a:off x="1574364" y="3364536"/>
              <a:ext cx="972000" cy="12569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직선 연결선 34"/>
            <p:cNvCxnSpPr/>
            <p:nvPr/>
          </p:nvCxnSpPr>
          <p:spPr>
            <a:xfrm rot="5400000">
              <a:off x="2403414" y="3249576"/>
              <a:ext cx="252000" cy="0"/>
            </a:xfrm>
            <a:prstGeom prst="line">
              <a:avLst/>
            </a:prstGeom>
            <a:ln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직선 연결선 35"/>
            <p:cNvCxnSpPr/>
            <p:nvPr/>
          </p:nvCxnSpPr>
          <p:spPr>
            <a:xfrm flipV="1">
              <a:off x="1576153" y="3124133"/>
              <a:ext cx="936000" cy="231242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/>
            <p:cNvSpPr txBox="1"/>
            <p:nvPr/>
          </p:nvSpPr>
          <p:spPr>
            <a:xfrm>
              <a:off x="2596427" y="3131949"/>
              <a:ext cx="146826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000" dirty="0" smtClean="0">
                  <a:latin typeface="+mj-ea"/>
                </a:rPr>
                <a:t>→ 차분</a:t>
              </a:r>
              <a:endParaRPr lang="ko-KR" altLang="en-US" sz="1000" dirty="0">
                <a:latin typeface="+mj-ea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2394560" y="2947098"/>
              <a:ext cx="144000" cy="4046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dirty="0" smtClean="0"/>
                <a:t>▲</a:t>
              </a:r>
              <a:endParaRPr lang="ko-KR" altLang="en-US" sz="1400" dirty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1431517" y="3178340"/>
              <a:ext cx="144000" cy="4046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400" dirty="0" smtClean="0"/>
                <a:t>▲</a:t>
              </a:r>
              <a:endParaRPr lang="ko-KR" altLang="en-US" sz="1400" dirty="0"/>
            </a:p>
          </p:txBody>
        </p:sp>
      </p:grpSp>
      <p:graphicFrame>
        <p:nvGraphicFramePr>
          <p:cNvPr id="41" name="표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7528236"/>
              </p:ext>
            </p:extLst>
          </p:nvPr>
        </p:nvGraphicFramePr>
        <p:xfrm>
          <a:off x="459081" y="2687782"/>
          <a:ext cx="4057502" cy="10801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871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67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67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567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0836">
                <a:tc>
                  <a:txBody>
                    <a:bodyPr/>
                    <a:lstStyle/>
                    <a:p>
                      <a:pPr algn="ctr" fontAlgn="t"/>
                      <a:r>
                        <a:rPr lang="ko-KR" altLang="en-US" sz="1050" b="1" u="none" strike="noStrike" dirty="0" smtClean="0">
                          <a:effectLst/>
                          <a:latin typeface="+mj-ea"/>
                          <a:ea typeface="+mj-ea"/>
                        </a:rPr>
                        <a:t>구분</a:t>
                      </a:r>
                      <a:endParaRPr lang="ko-KR" alt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0" marR="0" marT="0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최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평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최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7462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/>
                        <a:t>시간 차분</a:t>
                      </a:r>
                      <a:endParaRPr lang="ko-KR" altLang="en-US" sz="1050" dirty="0"/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ctr" latinLnBrk="1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8</a:t>
                      </a:r>
                      <a:r>
                        <a:rPr lang="ko-KR" altLang="en-US" sz="105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분 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50</a:t>
                      </a:r>
                      <a:r>
                        <a:rPr lang="ko-KR" altLang="en-US" sz="105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초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ctr" latinLnBrk="1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18</a:t>
                      </a:r>
                      <a:r>
                        <a:rPr lang="ko-KR" altLang="en-US" sz="6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일 </a:t>
                      </a:r>
                      <a:r>
                        <a:rPr lang="en-US" altLang="ko-KR" sz="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13</a:t>
                      </a:r>
                      <a:r>
                        <a:rPr lang="ko-KR" altLang="en-US" sz="6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시간 </a:t>
                      </a:r>
                      <a:r>
                        <a:rPr lang="en-US" altLang="ko-KR" sz="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17</a:t>
                      </a:r>
                      <a:r>
                        <a:rPr lang="ko-KR" altLang="en-US" sz="6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분 </a:t>
                      </a:r>
                      <a:r>
                        <a:rPr lang="en-US" altLang="ko-KR" sz="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33</a:t>
                      </a:r>
                      <a:r>
                        <a:rPr lang="ko-KR" altLang="en-US" sz="6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초</a:t>
                      </a:r>
                      <a:r>
                        <a:rPr lang="en-US" altLang="ko-KR" sz="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7462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err="1" smtClean="0"/>
                        <a:t>ㅇㅇ</a:t>
                      </a:r>
                      <a:r>
                        <a:rPr lang="ko-KR" altLang="en-US" sz="1050" dirty="0" smtClean="0"/>
                        <a:t> </a:t>
                      </a:r>
                      <a:r>
                        <a:rPr lang="ko-KR" altLang="en-US" sz="1050" dirty="0" smtClean="0"/>
                        <a:t>차분</a:t>
                      </a:r>
                      <a:endParaRPr lang="ko-KR" altLang="en-US" sz="1050" dirty="0"/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ctr" latinLnBrk="1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05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-671</a:t>
                      </a:r>
                      <a:endParaRPr lang="en-US" altLang="ko-KR" sz="10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0.000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ctr" latinLnBrk="1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691</a:t>
                      </a:r>
                      <a:endParaRPr lang="en-US" altLang="ko-KR" sz="10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7462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err="1" smtClean="0"/>
                        <a:t>ㅇㅇ</a:t>
                      </a:r>
                      <a:r>
                        <a:rPr lang="ko-KR" altLang="en-US" sz="1050" dirty="0" smtClean="0"/>
                        <a:t> </a:t>
                      </a:r>
                      <a:r>
                        <a:rPr lang="ko-KR" altLang="en-US" sz="1050" dirty="0" smtClean="0"/>
                        <a:t>차분</a:t>
                      </a:r>
                      <a:endParaRPr lang="ko-KR" altLang="en-US" sz="1050" dirty="0"/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ctr" latinLnBrk="1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-1,130</a:t>
                      </a:r>
                      <a:endParaRPr lang="ko-K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0.0002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1,1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7462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err="1" smtClean="0"/>
                        <a:t>ㅇㅇ</a:t>
                      </a:r>
                      <a:r>
                        <a:rPr lang="ko-KR" altLang="en-US" sz="1050" dirty="0" smtClean="0"/>
                        <a:t> </a:t>
                      </a:r>
                      <a:r>
                        <a:rPr lang="ko-KR" altLang="en-US" sz="1050" dirty="0" smtClean="0"/>
                        <a:t>차분</a:t>
                      </a:r>
                      <a:endParaRPr lang="ko-KR" altLang="en-US" sz="1050" dirty="0"/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ctr" latinLnBrk="1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-864</a:t>
                      </a:r>
                      <a:endParaRPr lang="ko-K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0.0000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8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7462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err="1" smtClean="0"/>
                        <a:t>ㅇㅇ차분</a:t>
                      </a:r>
                      <a:endParaRPr lang="ko-KR" altLang="en-US" sz="1050" dirty="0"/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ctr" latinLnBrk="1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-23</a:t>
                      </a:r>
                      <a:endParaRPr lang="ko-K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-0.000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ctr" latinLnBrk="1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ko-K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3</a:t>
                      </a:r>
                      <a:endParaRPr lang="ko-K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3" name="TextBox 42"/>
          <p:cNvSpPr txBox="1"/>
          <p:nvPr/>
        </p:nvSpPr>
        <p:spPr>
          <a:xfrm>
            <a:off x="346756" y="3842818"/>
            <a:ext cx="4433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altLang="ko-KR" sz="1200" dirty="0" smtClean="0"/>
              <a:t>EX&gt; </a:t>
            </a:r>
            <a:r>
              <a:rPr lang="ko-KR" altLang="en-US" sz="1200" smtClean="0"/>
              <a:t>시간 차분 </a:t>
            </a:r>
            <a:r>
              <a:rPr lang="en-US" altLang="ko-KR" sz="1200" dirty="0" smtClean="0"/>
              <a:t>1</a:t>
            </a:r>
            <a:r>
              <a:rPr lang="ko-KR" altLang="en-US" sz="1200" smtClean="0"/>
              <a:t>일 이하 </a:t>
            </a:r>
            <a:r>
              <a:rPr lang="en-US" altLang="ko-KR" sz="1200" dirty="0" smtClean="0"/>
              <a:t>&amp; </a:t>
            </a:r>
            <a:r>
              <a:rPr lang="ko-KR" altLang="en-US" sz="1200" smtClean="0"/>
              <a:t>주조속도 절대값 </a:t>
            </a:r>
            <a:r>
              <a:rPr lang="en-US" altLang="ko-KR" sz="1200" dirty="0" smtClean="0"/>
              <a:t>200</a:t>
            </a:r>
            <a:r>
              <a:rPr lang="ko-KR" altLang="en-US" sz="1200" smtClean="0"/>
              <a:t>이상인 경우</a:t>
            </a:r>
            <a:endParaRPr lang="ko-KR" altLang="en-US" sz="1200"/>
          </a:p>
        </p:txBody>
      </p:sp>
      <p:graphicFrame>
        <p:nvGraphicFramePr>
          <p:cNvPr id="44" name="표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1485172"/>
              </p:ext>
            </p:extLst>
          </p:nvPr>
        </p:nvGraphicFramePr>
        <p:xfrm>
          <a:off x="336365" y="4226959"/>
          <a:ext cx="2226493" cy="1728000"/>
        </p:xfrm>
        <a:graphic>
          <a:graphicData uri="http://schemas.openxmlformats.org/drawingml/2006/table">
            <a:tbl>
              <a:tblPr/>
              <a:tblGrid>
                <a:gridCol w="508802">
                  <a:extLst>
                    <a:ext uri="{9D8B030D-6E8A-4147-A177-3AD203B41FA5}">
                      <a16:colId xmlns:a16="http://schemas.microsoft.com/office/drawing/2014/main" val="1247019303"/>
                    </a:ext>
                  </a:extLst>
                </a:gridCol>
                <a:gridCol w="978702">
                  <a:extLst>
                    <a:ext uri="{9D8B030D-6E8A-4147-A177-3AD203B41FA5}">
                      <a16:colId xmlns:a16="http://schemas.microsoft.com/office/drawing/2014/main" val="2417532322"/>
                    </a:ext>
                  </a:extLst>
                </a:gridCol>
                <a:gridCol w="738989">
                  <a:extLst>
                    <a:ext uri="{9D8B030D-6E8A-4147-A177-3AD203B41FA5}">
                      <a16:colId xmlns:a16="http://schemas.microsoft.com/office/drawing/2014/main" val="93537338"/>
                    </a:ext>
                  </a:extLst>
                </a:gridCol>
              </a:tblGrid>
              <a:tr h="14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ot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번호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YYMMDD HHMMS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조속도차분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49881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112110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0112 23:07:1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734499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112112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0112 23:41:1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730844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201073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0201 14:06:3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868555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201074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0201 14:12:19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681525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518001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0518 06:56:3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701191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0702 05:30:3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702001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0702 11:20:43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910036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0910 10:03:0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651850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910037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0910 13:51:4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154175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A03035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1003 09:49:58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06827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A03037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1003 12:23:08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199467"/>
                  </a:ext>
                </a:extLst>
              </a:tr>
            </a:tbl>
          </a:graphicData>
        </a:graphic>
      </p:graphicFrame>
      <p:graphicFrame>
        <p:nvGraphicFramePr>
          <p:cNvPr id="45" name="표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5049665"/>
              </p:ext>
            </p:extLst>
          </p:nvPr>
        </p:nvGraphicFramePr>
        <p:xfrm>
          <a:off x="2621211" y="4213104"/>
          <a:ext cx="2218555" cy="1730498"/>
        </p:xfrm>
        <a:graphic>
          <a:graphicData uri="http://schemas.openxmlformats.org/drawingml/2006/table">
            <a:tbl>
              <a:tblPr/>
              <a:tblGrid>
                <a:gridCol w="500864">
                  <a:extLst>
                    <a:ext uri="{9D8B030D-6E8A-4147-A177-3AD203B41FA5}">
                      <a16:colId xmlns:a16="http://schemas.microsoft.com/office/drawing/2014/main" val="1247019303"/>
                    </a:ext>
                  </a:extLst>
                </a:gridCol>
                <a:gridCol w="978702">
                  <a:extLst>
                    <a:ext uri="{9D8B030D-6E8A-4147-A177-3AD203B41FA5}">
                      <a16:colId xmlns:a16="http://schemas.microsoft.com/office/drawing/2014/main" val="2417532322"/>
                    </a:ext>
                  </a:extLst>
                </a:gridCol>
                <a:gridCol w="738989">
                  <a:extLst>
                    <a:ext uri="{9D8B030D-6E8A-4147-A177-3AD203B41FA5}">
                      <a16:colId xmlns:a16="http://schemas.microsoft.com/office/drawing/2014/main" val="93537338"/>
                    </a:ext>
                  </a:extLst>
                </a:gridCol>
              </a:tblGrid>
              <a:tr h="15731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ot </a:t>
                      </a:r>
                      <a:r>
                        <a:rPr lang="ko-KR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번호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YYMMDD HHMMS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조속도차분</a:t>
                      </a:r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498811"/>
                  </a:ext>
                </a:extLst>
              </a:tr>
              <a:tr h="157318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125179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0126 04:21:2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6557230"/>
                  </a:ext>
                </a:extLst>
              </a:tr>
              <a:tr h="157318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125181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0126 05:59:51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6259335"/>
                  </a:ext>
                </a:extLst>
              </a:tr>
              <a:tr h="157318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829062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0829 13:58:4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7318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901005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0901 15:05:28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1593869"/>
                  </a:ext>
                </a:extLst>
              </a:tr>
              <a:tr h="157318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901006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0901 15:21:04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5946260"/>
                  </a:ext>
                </a:extLst>
              </a:tr>
              <a:tr h="157318"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B02146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1102 23:31:4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4590"/>
                  </a:ext>
                </a:extLst>
              </a:tr>
              <a:tr h="157318"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B02147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1103 12:26:00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0437277"/>
                  </a:ext>
                </a:extLst>
              </a:tr>
              <a:tr h="157318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25075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325 13:53:52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7318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30002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330 06:43:36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2579935"/>
                  </a:ext>
                </a:extLst>
              </a:tr>
              <a:tr h="157318"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30004</a:t>
                      </a: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0330 07:37:57</a:t>
                      </a:r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6751" marR="6751" marT="6751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9650158"/>
                  </a:ext>
                </a:extLst>
              </a:tr>
            </a:tbl>
          </a:graphicData>
        </a:graphic>
      </p:graphicFrame>
      <p:sp>
        <p:nvSpPr>
          <p:cNvPr id="46" name="TextBox 45"/>
          <p:cNvSpPr txBox="1"/>
          <p:nvPr/>
        </p:nvSpPr>
        <p:spPr>
          <a:xfrm>
            <a:off x="249774" y="6017982"/>
            <a:ext cx="4433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  <a:spcAft>
                <a:spcPts val="600"/>
              </a:spcAft>
            </a:pPr>
            <a:r>
              <a:rPr lang="en-US" altLang="ko-KR" sz="1200" dirty="0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t>☞ </a:t>
            </a:r>
            <a:r>
              <a:rPr lang="ko-KR" altLang="en-US" sz="1200" smtClean="0"/>
              <a:t>다른 변수들도 유사 패턴</a:t>
            </a:r>
            <a:r>
              <a:rPr lang="en-US" altLang="ko-KR" sz="1200" dirty="0" smtClean="0"/>
              <a:t>, </a:t>
            </a:r>
            <a:r>
              <a:rPr lang="ko-KR" altLang="en-US" sz="1200" smtClean="0"/>
              <a:t>현상 발생 원인 파악 필요 </a:t>
            </a:r>
            <a:endParaRPr lang="ko-KR" altLang="en-US" sz="1200"/>
          </a:p>
        </p:txBody>
      </p:sp>
      <p:grpSp>
        <p:nvGrpSpPr>
          <p:cNvPr id="52" name="그룹 51"/>
          <p:cNvGrpSpPr/>
          <p:nvPr/>
        </p:nvGrpSpPr>
        <p:grpSpPr>
          <a:xfrm>
            <a:off x="5126142" y="833613"/>
            <a:ext cx="4250629" cy="325924"/>
            <a:chOff x="5126142" y="833613"/>
            <a:chExt cx="4250629" cy="325924"/>
          </a:xfrm>
        </p:grpSpPr>
        <p:sp>
          <p:nvSpPr>
            <p:cNvPr id="53" name="TextBox 52"/>
            <p:cNvSpPr txBox="1"/>
            <p:nvPr/>
          </p:nvSpPr>
          <p:spPr>
            <a:xfrm>
              <a:off x="5372839" y="833613"/>
              <a:ext cx="3874925" cy="325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400" b="1" dirty="0">
                  <a:solidFill>
                    <a:prstClr val="black"/>
                  </a:solidFill>
                  <a:latin typeface="맑은 고딕" panose="020B0503020000020004" pitchFamily="50" charset="-127"/>
                </a:rPr>
                <a:t>도메인 지식 활용 새로운 변수 생성</a:t>
              </a:r>
            </a:p>
          </p:txBody>
        </p:sp>
        <p:cxnSp>
          <p:nvCxnSpPr>
            <p:cNvPr id="54" name="직선 연결선 53"/>
            <p:cNvCxnSpPr/>
            <p:nvPr/>
          </p:nvCxnSpPr>
          <p:spPr>
            <a:xfrm>
              <a:off x="5126142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55" name="TextBox 54"/>
          <p:cNvSpPr txBox="1"/>
          <p:nvPr/>
        </p:nvSpPr>
        <p:spPr>
          <a:xfrm>
            <a:off x="5120787" y="1239264"/>
            <a:ext cx="4504924" cy="28910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3</a:t>
            </a:r>
            <a:r>
              <a:rPr lang="ko-KR" altLang="en-US" sz="1300" b="1">
                <a:solidFill>
                  <a:prstClr val="black"/>
                </a:solidFill>
                <a:latin typeface="맑은 고딕" panose="020B0503020000020004" pitchFamily="50" charset="-127"/>
              </a:rPr>
              <a:t>교대조 별로 단선 발생 여부 분포가 상이함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graphicFrame>
        <p:nvGraphicFramePr>
          <p:cNvPr id="42" name="표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4951239"/>
              </p:ext>
            </p:extLst>
          </p:nvPr>
        </p:nvGraphicFramePr>
        <p:xfrm>
          <a:off x="5385666" y="1598758"/>
          <a:ext cx="3949122" cy="800450"/>
        </p:xfrm>
        <a:graphic>
          <a:graphicData uri="http://schemas.openxmlformats.org/drawingml/2006/table">
            <a:tbl>
              <a:tblPr/>
              <a:tblGrid>
                <a:gridCol w="14588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6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06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50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1050" b="1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대조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 </a:t>
                      </a:r>
                      <a:r>
                        <a:rPr lang="ko-KR" altLang="en-US" sz="105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발생</a:t>
                      </a:r>
                      <a:endParaRPr lang="ko-KR" alt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 발생</a:t>
                      </a:r>
                      <a:endParaRPr lang="ko-KR" alt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984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lang="ko-KR" altLang="en-US" sz="900" b="1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06:00~14:00)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275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r>
                        <a:rPr lang="ko-KR" altLang="en-US" sz="900" b="1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14:00~22:00)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275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900" b="1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조</a:t>
                      </a:r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2:00~06:00)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7" name="TextBox 46"/>
          <p:cNvSpPr txBox="1"/>
          <p:nvPr/>
        </p:nvSpPr>
        <p:spPr>
          <a:xfrm>
            <a:off x="5173538" y="2558860"/>
            <a:ext cx="4331689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24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</a:rPr>
              <a:t>시간 시간 대별 단선 발생 비율이 상이함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211349" y="4478004"/>
            <a:ext cx="4485101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좋은 전기동 등급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(GA)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에서 오히려 단선 발생 비율 높음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8745105" y="4187309"/>
            <a:ext cx="60785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50" dirty="0" smtClean="0"/>
              <a:t>시간대</a:t>
            </a:r>
            <a:endParaRPr lang="ko-KR" altLang="en-US" sz="1050" dirty="0"/>
          </a:p>
        </p:txBody>
      </p:sp>
      <p:sp>
        <p:nvSpPr>
          <p:cNvPr id="58" name="직사각형 57"/>
          <p:cNvSpPr/>
          <p:nvPr/>
        </p:nvSpPr>
        <p:spPr>
          <a:xfrm>
            <a:off x="5458980" y="2920484"/>
            <a:ext cx="45397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050" dirty="0" smtClean="0"/>
              <a:t>분포</a:t>
            </a:r>
            <a:endParaRPr lang="ko-KR" altLang="en-US" sz="1050" dirty="0"/>
          </a:p>
        </p:txBody>
      </p:sp>
      <p:graphicFrame>
        <p:nvGraphicFramePr>
          <p:cNvPr id="59" name="표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1030227"/>
              </p:ext>
            </p:extLst>
          </p:nvPr>
        </p:nvGraphicFramePr>
        <p:xfrm>
          <a:off x="5514110" y="4887282"/>
          <a:ext cx="3851563" cy="862483"/>
        </p:xfrm>
        <a:graphic>
          <a:graphicData uri="http://schemas.openxmlformats.org/drawingml/2006/table">
            <a:tbl>
              <a:tblPr/>
              <a:tblGrid>
                <a:gridCol w="13153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80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80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3417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 </a:t>
                      </a:r>
                      <a:r>
                        <a:rPr lang="ko-KR" altLang="en-US" sz="105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미발생</a:t>
                      </a:r>
                      <a:endParaRPr lang="ko-KR" alt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 발생</a:t>
                      </a:r>
                      <a:endParaRPr lang="ko-KR" alt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53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A</a:t>
                      </a:r>
                      <a:r>
                        <a:rPr lang="ko-KR" altLang="en-US" sz="9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 때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9533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ko-KR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A </a:t>
                      </a:r>
                      <a:r>
                        <a:rPr lang="ko-KR" altLang="en-US" sz="900" b="1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님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066" marR="5066" marT="506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358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3. </a:t>
            </a:r>
            <a:r>
              <a:rPr lang="ko-KR" altLang="en-US" dirty="0" err="1" smtClean="0">
                <a:latin typeface="+mj-ea"/>
              </a:rPr>
              <a:t>ㅇㅇ</a:t>
            </a:r>
            <a:r>
              <a:rPr lang="en-US" altLang="ko-KR" dirty="0" smtClean="0">
                <a:latin typeface="+mj-ea"/>
              </a:rPr>
              <a:t> </a:t>
            </a:r>
            <a:r>
              <a:rPr lang="en-US" altLang="ko-KR" dirty="0">
                <a:latin typeface="+mj-ea"/>
              </a:rPr>
              <a:t>– 3) </a:t>
            </a:r>
            <a:r>
              <a:rPr lang="ko-KR" altLang="en-US" dirty="0" err="1" smtClean="0">
                <a:latin typeface="+mj-ea"/>
              </a:rPr>
              <a:t>ㅇㅇ</a:t>
            </a:r>
            <a:r>
              <a:rPr lang="ko-KR" altLang="en-US" dirty="0" smtClean="0">
                <a:latin typeface="+mj-ea"/>
              </a:rPr>
              <a:t> </a:t>
            </a:r>
            <a:r>
              <a:rPr lang="ko-KR" altLang="en-US" dirty="0">
                <a:latin typeface="+mj-ea"/>
              </a:rPr>
              <a:t>원인을 분석 해 보았습니다</a:t>
            </a:r>
            <a:r>
              <a:rPr lang="en-US" altLang="ko-KR" dirty="0">
                <a:latin typeface="+mj-ea"/>
              </a:rPr>
              <a:t>. </a:t>
            </a:r>
            <a:r>
              <a:rPr lang="en-US" altLang="ko-KR" dirty="0" smtClean="0">
                <a:latin typeface="+mj-ea"/>
              </a:rPr>
              <a:t>(1/6)</a:t>
            </a:r>
            <a:endParaRPr lang="en-US" altLang="ko-KR" dirty="0">
              <a:latin typeface="+mj-ea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51374" y="837825"/>
            <a:ext cx="4433152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발생하지 않으려면 공정이 어떻게 되어야 할까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?</a:t>
            </a:r>
            <a:endParaRPr lang="ko-KR" altLang="en-US" sz="13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186" y="1170438"/>
            <a:ext cx="4297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/>
              <a:t>확보 데이터 中 공정 상태를 변수들과 단선의 분포를 확인함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30" name="표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16478"/>
              </p:ext>
            </p:extLst>
          </p:nvPr>
        </p:nvGraphicFramePr>
        <p:xfrm>
          <a:off x="577551" y="1645682"/>
          <a:ext cx="3918250" cy="762000"/>
        </p:xfrm>
        <a:graphic>
          <a:graphicData uri="http://schemas.openxmlformats.org/drawingml/2006/table">
            <a:tbl>
              <a:tblPr/>
              <a:tblGrid>
                <a:gridCol w="7102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48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79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75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75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dirty="0" smtClean="0"/>
                        <a:t>4</a:t>
                      </a:r>
                      <a:r>
                        <a:rPr lang="ko-KR" altLang="en-US" sz="1000" smtClean="0"/>
                        <a:t>등급</a:t>
                      </a:r>
                      <a:endParaRPr lang="ko-KR" altLang="en-US" sz="10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dirty="0" smtClean="0"/>
                        <a:t>3</a:t>
                      </a:r>
                      <a:r>
                        <a:rPr lang="ko-KR" altLang="en-US" sz="1000" smtClean="0"/>
                        <a:t>등급</a:t>
                      </a:r>
                      <a:endParaRPr lang="ko-KR" altLang="en-US" sz="10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dirty="0" smtClean="0"/>
                        <a:t>2</a:t>
                      </a:r>
                      <a:r>
                        <a:rPr lang="ko-KR" altLang="en-US" sz="1000" smtClean="0"/>
                        <a:t>등급</a:t>
                      </a:r>
                      <a:endParaRPr lang="ko-KR" altLang="en-US" sz="10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dirty="0" smtClean="0"/>
                        <a:t>1</a:t>
                      </a:r>
                      <a:r>
                        <a:rPr lang="ko-KR" altLang="en-US" sz="1000" smtClean="0"/>
                        <a:t>등급</a:t>
                      </a:r>
                      <a:endParaRPr lang="ko-KR" altLang="en-US" sz="10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endParaRPr lang="ko-KR" altLang="en-US" sz="10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ko-KR" altLang="en-US" sz="1000" dirty="0"/>
                    </a:p>
                  </a:txBody>
                  <a:tcPr marL="36000" marR="36000" marT="36000" marB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ko-KR" altLang="en-US" sz="1000" dirty="0"/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ko-KR" altLang="en-US" sz="1000" dirty="0"/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ko-KR" altLang="en-US" sz="10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ko-KR" altLang="en-US" sz="10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ko-KR" altLang="en-US" sz="1000" dirty="0"/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ko-KR" altLang="en-US" sz="10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sz="1000" dirty="0"/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ko-KR" altLang="en-US" sz="10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ko-KR" altLang="en-US" sz="1000" dirty="0"/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endParaRPr lang="ko-KR" altLang="en-US" sz="10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ko-KR" altLang="en-US" sz="1000" dirty="0"/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441711" y="2503938"/>
            <a:ext cx="4297636" cy="3391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err="1" smtClean="0"/>
              <a:t>ㅇㅇ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32" name="표 31"/>
          <p:cNvGraphicFramePr>
            <a:graphicFrameLocks noGrp="1"/>
          </p:cNvGraphicFramePr>
          <p:nvPr>
            <p:extLst/>
          </p:nvPr>
        </p:nvGraphicFramePr>
        <p:xfrm>
          <a:off x="5241788" y="1492045"/>
          <a:ext cx="1971811" cy="4779445"/>
        </p:xfrm>
        <a:graphic>
          <a:graphicData uri="http://schemas.openxmlformats.org/drawingml/2006/table">
            <a:tbl>
              <a:tblPr/>
              <a:tblGrid>
                <a:gridCol w="4292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12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12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979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간</a:t>
                      </a:r>
                    </a:p>
                  </a:txBody>
                  <a:tcPr marL="9496" marR="9496" marT="9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671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671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등급 中 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9496" marR="9496" marT="94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671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맑은 고딕" panose="020B0503020000020004" pitchFamily="50" charset="-127"/>
                        </a:rPr>
                        <a:t>4</a:t>
                      </a:r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등급 中 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9496" marR="9496" marT="94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671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7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단선</a:t>
                      </a:r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맑은 고딕" panose="020B0503020000020004" pitchFamily="50" charset="-127"/>
                        </a:rPr>
                        <a:t> 비율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9496" marR="9496" marT="94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7671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맑은 고딕" panose="020B0503020000020004" pitchFamily="50" charset="-127"/>
                        </a:rPr>
                        <a:t>단선</a:t>
                      </a:r>
                      <a:r>
                        <a:rPr lang="ko-KR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맑은 고딕" panose="020B0503020000020004" pitchFamily="50" charset="-127"/>
                        </a:rPr>
                        <a:t> 비율</a:t>
                      </a:r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맑은 고딕" panose="020B0503020000020004" pitchFamily="50" charset="-127"/>
                      </a:endParaRPr>
                    </a:p>
                  </a:txBody>
                  <a:tcPr marL="9496" marR="9496" marT="94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7671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75</a:t>
                      </a:r>
                    </a:p>
                  </a:txBody>
                  <a:tcPr marL="9496" marR="9496" marT="9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671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671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6717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74</a:t>
                      </a:r>
                    </a:p>
                  </a:txBody>
                  <a:tcPr marL="9496" marR="9496" marT="9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73</a:t>
                      </a:r>
                    </a:p>
                  </a:txBody>
                  <a:tcPr marL="9496" marR="9496" marT="9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79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72</a:t>
                      </a:r>
                    </a:p>
                  </a:txBody>
                  <a:tcPr marL="9496" marR="9496" marT="9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774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71</a:t>
                      </a:r>
                    </a:p>
                  </a:txBody>
                  <a:tcPr marL="9496" marR="9496" marT="9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681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70</a:t>
                      </a:r>
                    </a:p>
                  </a:txBody>
                  <a:tcPr marL="9496" marR="9496" marT="9496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092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69</a:t>
                      </a:r>
                    </a:p>
                  </a:txBody>
                  <a:tcPr marL="9496" marR="9496" marT="9496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222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68</a:t>
                      </a:r>
                    </a:p>
                  </a:txBody>
                  <a:tcPr marL="9496" marR="9496" marT="9496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666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67</a:t>
                      </a:r>
                    </a:p>
                  </a:txBody>
                  <a:tcPr marL="9496" marR="9496" marT="9496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951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66</a:t>
                      </a:r>
                    </a:p>
                  </a:txBody>
                  <a:tcPr marL="9496" marR="9496" marT="9496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719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65</a:t>
                      </a:r>
                    </a:p>
                  </a:txBody>
                  <a:tcPr marL="9496" marR="9496" marT="9496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751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64</a:t>
                      </a:r>
                    </a:p>
                  </a:txBody>
                  <a:tcPr marL="9496" marR="9496" marT="9496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231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63</a:t>
                      </a:r>
                    </a:p>
                  </a:txBody>
                  <a:tcPr marL="9496" marR="9496" marT="9496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70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62</a:t>
                      </a:r>
                    </a:p>
                  </a:txBody>
                  <a:tcPr marL="9496" marR="9496" marT="9496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452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61</a:t>
                      </a:r>
                    </a:p>
                  </a:txBody>
                  <a:tcPr marL="9496" marR="9496" marT="9496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59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469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60</a:t>
                      </a:r>
                    </a:p>
                  </a:txBody>
                  <a:tcPr marL="9496" marR="9496" marT="9496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3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31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59</a:t>
                      </a:r>
                    </a:p>
                  </a:txBody>
                  <a:tcPr marL="9496" marR="9496" marT="9496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87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696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58</a:t>
                      </a:r>
                    </a:p>
                  </a:txBody>
                  <a:tcPr marL="9496" marR="9496" marT="9496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57</a:t>
                      </a:r>
                    </a:p>
                  </a:txBody>
                  <a:tcPr marL="9496" marR="9496" marT="9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56</a:t>
                      </a:r>
                    </a:p>
                  </a:txBody>
                  <a:tcPr marL="9496" marR="9496" marT="9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0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55</a:t>
                      </a:r>
                    </a:p>
                  </a:txBody>
                  <a:tcPr marL="9496" marR="9496" marT="9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496" marR="9496" marT="9496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34" name="표 33"/>
          <p:cNvGraphicFramePr>
            <a:graphicFrameLocks noGrp="1"/>
          </p:cNvGraphicFramePr>
          <p:nvPr>
            <p:extLst/>
          </p:nvPr>
        </p:nvGraphicFramePr>
        <p:xfrm>
          <a:off x="7561995" y="1479404"/>
          <a:ext cx="2053059" cy="47828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39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456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7456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68482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9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</a:rPr>
                        <a:t>구간</a:t>
                      </a:r>
                      <a:endParaRPr lang="en-US" altLang="ko-KR" sz="900" b="1" i="0" u="none" strike="noStrike" dirty="0" smtClean="0">
                        <a:solidFill>
                          <a:schemeClr val="dk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b="1" dirty="0" smtClean="0"/>
                        <a:t>3</a:t>
                      </a:r>
                      <a:r>
                        <a:rPr lang="ko-KR" altLang="en-US" sz="900" b="1" smtClean="0"/>
                        <a:t>등급 中 </a:t>
                      </a:r>
                      <a:endParaRPr lang="en-US" altLang="ko-KR" sz="900" b="1" dirty="0" smtClean="0"/>
                    </a:p>
                    <a:p>
                      <a:pPr algn="ctr"/>
                      <a:r>
                        <a:rPr lang="ko-KR" altLang="en-US" sz="900" b="1" dirty="0" smtClean="0"/>
                        <a:t>단선</a:t>
                      </a:r>
                      <a:r>
                        <a:rPr lang="ko-KR" altLang="en-US" sz="900" b="1" baseline="0" dirty="0" smtClean="0"/>
                        <a:t> 비율</a:t>
                      </a:r>
                      <a:endParaRPr lang="ko-KR" altLang="en-US" sz="900" b="1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900" b="1" dirty="0" smtClean="0"/>
                        <a:t>4</a:t>
                      </a:r>
                      <a:r>
                        <a:rPr lang="ko-KR" altLang="en-US" sz="900" b="1" smtClean="0"/>
                        <a:t>등급 中 </a:t>
                      </a:r>
                      <a:endParaRPr lang="en-US" altLang="ko-KR" sz="900" b="1" dirty="0" smtClean="0"/>
                    </a:p>
                    <a:p>
                      <a:pPr algn="ctr"/>
                      <a:r>
                        <a:rPr lang="ko-KR" altLang="en-US" sz="900" b="1" dirty="0" smtClean="0"/>
                        <a:t>단선</a:t>
                      </a:r>
                      <a:r>
                        <a:rPr lang="ko-KR" altLang="en-US" sz="900" b="1" baseline="0" dirty="0" smtClean="0"/>
                        <a:t> 비율</a:t>
                      </a:r>
                      <a:endParaRPr lang="ko-KR" altLang="en-US" sz="900" b="1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40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39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38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37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36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35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34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23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33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20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32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28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31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32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92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30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48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9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86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8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84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7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78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16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6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075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5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1660</a:t>
                      </a:r>
                      <a:endParaRPr lang="en-US" altLang="ko-KR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4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.284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3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2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1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10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0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</a:tbl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70286" y="3161163"/>
            <a:ext cx="4297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1)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레벨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구간에서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단선 발생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79811" y="4847088"/>
            <a:ext cx="4297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2)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구간에서 단선 발생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185161" y="810220"/>
            <a:ext cx="23110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chemeClr val="bg2">
                    <a:lumMod val="25000"/>
                  </a:schemeClr>
                </a:solidFill>
              </a:rPr>
              <a:t>3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)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중앙에 단선 발생 비율이 높음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594986" y="787129"/>
            <a:ext cx="23110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4)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ko-KR" altLang="en-US" sz="1200" dirty="0">
                <a:solidFill>
                  <a:schemeClr val="bg2">
                    <a:lumMod val="25000"/>
                  </a:schemeClr>
                </a:solidFill>
              </a:rPr>
              <a:t>중앙에 단선 발생 비율이 높음</a:t>
            </a:r>
            <a:endParaRPr lang="en-US" altLang="ko-KR" sz="1200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659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3. </a:t>
            </a:r>
            <a:r>
              <a:rPr lang="ko-KR" altLang="en-US" dirty="0" err="1" smtClean="0">
                <a:latin typeface="+mj-ea"/>
              </a:rPr>
              <a:t>ㅇㅇ</a:t>
            </a:r>
            <a:r>
              <a:rPr lang="en-US" altLang="ko-KR" dirty="0" smtClean="0">
                <a:latin typeface="+mj-ea"/>
              </a:rPr>
              <a:t> </a:t>
            </a:r>
            <a:r>
              <a:rPr lang="en-US" altLang="ko-KR" dirty="0">
                <a:latin typeface="+mj-ea"/>
              </a:rPr>
              <a:t>– 3) </a:t>
            </a:r>
            <a:r>
              <a:rPr lang="ko-KR" altLang="en-US" dirty="0" err="1" smtClean="0">
                <a:latin typeface="+mj-ea"/>
              </a:rPr>
              <a:t>ㅇㅇ</a:t>
            </a:r>
            <a:r>
              <a:rPr lang="ko-KR" altLang="en-US" dirty="0" smtClean="0">
                <a:latin typeface="+mj-ea"/>
              </a:rPr>
              <a:t> </a:t>
            </a:r>
            <a:r>
              <a:rPr lang="ko-KR" altLang="en-US" dirty="0">
                <a:latin typeface="+mj-ea"/>
              </a:rPr>
              <a:t>원인을 분석 해 보았습니다</a:t>
            </a:r>
            <a:r>
              <a:rPr lang="en-US" altLang="ko-KR" dirty="0">
                <a:latin typeface="+mj-ea"/>
              </a:rPr>
              <a:t>. </a:t>
            </a:r>
            <a:r>
              <a:rPr lang="en-US" altLang="ko-KR" dirty="0" smtClean="0">
                <a:latin typeface="+mj-ea"/>
              </a:rPr>
              <a:t>(2/6)</a:t>
            </a:r>
            <a:endParaRPr lang="en-US" altLang="ko-KR" dirty="0">
              <a:latin typeface="+mj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3484" y="813098"/>
            <a:ext cx="4262418" cy="325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과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dirty="0" err="1" smtClean="0">
                <a:solidFill>
                  <a:prstClr val="black"/>
                </a:solidFill>
                <a:latin typeface="맑은 고딕" panose="020B0503020000020004" pitchFamily="50" charset="-127"/>
              </a:rPr>
              <a:t>ㅇㅇㅇㅇ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 </a:t>
            </a:r>
            <a:r>
              <a:rPr kumimoji="1" lang="ko-KR" altLang="en-US" sz="14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분석</a:t>
            </a:r>
            <a:endParaRPr kumimoji="1" lang="ko-KR" altLang="en-US" sz="1400" b="1" dirty="0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cxnSp>
        <p:nvCxnSpPr>
          <p:cNvPr id="7" name="직선 연결선 6"/>
          <p:cNvCxnSpPr/>
          <p:nvPr/>
        </p:nvCxnSpPr>
        <p:spPr>
          <a:xfrm>
            <a:off x="410534" y="1139022"/>
            <a:ext cx="425062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7" name="TextBox 16"/>
          <p:cNvSpPr txBox="1"/>
          <p:nvPr/>
        </p:nvSpPr>
        <p:spPr>
          <a:xfrm>
            <a:off x="351374" y="1256925"/>
            <a:ext cx="4433152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단선 발생 中 화학성분 데이터가 있는 경우는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</a:rPr>
              <a:t>2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</a:rPr>
              <a:t>건 뿐</a:t>
            </a:r>
            <a:endParaRPr lang="ko-KR" altLang="en-US" sz="1300" b="1">
              <a:solidFill>
                <a:prstClr val="black"/>
              </a:solidFill>
              <a:latin typeface="맑은 고딕" panose="020B0503020000020004" pitchFamily="50" charset="-127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5126142" y="833613"/>
            <a:ext cx="4250629" cy="350865"/>
            <a:chOff x="5126142" y="833613"/>
            <a:chExt cx="4250629" cy="350865"/>
          </a:xfrm>
        </p:grpSpPr>
        <p:sp>
          <p:nvSpPr>
            <p:cNvPr id="53" name="TextBox 52"/>
            <p:cNvSpPr txBox="1"/>
            <p:nvPr/>
          </p:nvSpPr>
          <p:spPr>
            <a:xfrm>
              <a:off x="5372839" y="833613"/>
              <a:ext cx="3874925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단선과  공정 조건</a:t>
              </a:r>
              <a:endPara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endParaRPr>
            </a:p>
          </p:txBody>
        </p:sp>
        <p:cxnSp>
          <p:nvCxnSpPr>
            <p:cNvPr id="54" name="직선 연결선 53"/>
            <p:cNvCxnSpPr/>
            <p:nvPr/>
          </p:nvCxnSpPr>
          <p:spPr>
            <a:xfrm>
              <a:off x="5126142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55" name="TextBox 54"/>
          <p:cNvSpPr txBox="1"/>
          <p:nvPr/>
        </p:nvSpPr>
        <p:spPr>
          <a:xfrm>
            <a:off x="5120787" y="1239264"/>
            <a:ext cx="4504924" cy="552835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화학성분 검사 통과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Lot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中 단선 발생 여부에 따른 공정 조건 차이 분석</a:t>
            </a:r>
          </a:p>
        </p:txBody>
      </p:sp>
      <p:graphicFrame>
        <p:nvGraphicFramePr>
          <p:cNvPr id="40" name="표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5234310"/>
              </p:ext>
            </p:extLst>
          </p:nvPr>
        </p:nvGraphicFramePr>
        <p:xfrm>
          <a:off x="516962" y="1681676"/>
          <a:ext cx="2764501" cy="1486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88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57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7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272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536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4334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QPIS</a:t>
                      </a:r>
                      <a:endParaRPr lang="ko-KR" altLang="en-US" sz="105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5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화학성분</a:t>
                      </a:r>
                      <a:endParaRPr lang="ko-KR" altLang="en-US" sz="105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5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단선 발생 </a:t>
                      </a:r>
                      <a:r>
                        <a:rPr lang="ko-KR" altLang="en-US" sz="105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로트</a:t>
                      </a:r>
                      <a:endParaRPr lang="ko-KR" altLang="en-US" sz="105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218">
                <a:tc rowSpan="6"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100" b="1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</a:rPr>
                        <a:t>총 </a:t>
                      </a:r>
                      <a:endParaRPr lang="en-US" altLang="ko-KR" sz="1100" b="1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</a:endParaRPr>
                    </a:p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en-US" altLang="ko-KR" sz="1100" b="1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</a:rPr>
                        <a:t>143,53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05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합격</a:t>
                      </a:r>
                      <a:endParaRPr lang="en-US" altLang="ko-KR" sz="105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정상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921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단선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921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1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불합격</a:t>
                      </a:r>
                      <a:endParaRPr lang="en-US" altLang="ko-KR" sz="110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정상</a:t>
                      </a:r>
                      <a:endParaRPr lang="ko-KR" altLang="en-US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9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921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0" dirty="0" smtClean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단선</a:t>
                      </a:r>
                      <a:endParaRPr lang="ko-KR" altLang="en-US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lang="ko-KR" altLang="en-US" sz="9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921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dirty="0" smtClean="0">
                          <a:solidFill>
                            <a:sysClr val="windowText" lastClr="000000"/>
                          </a:solidFill>
                        </a:rPr>
                        <a:t>검사 없음</a:t>
                      </a:r>
                      <a:endParaRPr lang="en-US" altLang="ko-KR" sz="1050" dirty="0" smtClean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정상</a:t>
                      </a:r>
                      <a:endParaRPr lang="ko-KR" altLang="en-US" sz="9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921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900" b="1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단선</a:t>
                      </a:r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42" name="TextBox 41"/>
          <p:cNvSpPr txBox="1"/>
          <p:nvPr/>
        </p:nvSpPr>
        <p:spPr>
          <a:xfrm>
            <a:off x="432186" y="3218313"/>
            <a:ext cx="42976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en-US" altLang="ko-KR" sz="1200" dirty="0" err="1" smtClean="0"/>
              <a:t>dd</a:t>
            </a:r>
            <a:r>
              <a:rPr lang="ko-KR" altLang="en-US" sz="1200" dirty="0" smtClean="0"/>
              <a:t> </a:t>
            </a:r>
            <a:r>
              <a:rPr lang="ko-KR" altLang="en-US" sz="1200" dirty="0" smtClean="0"/>
              <a:t>검사 </a:t>
            </a:r>
            <a:r>
              <a:rPr lang="en-US" altLang="ko-KR" sz="1200" dirty="0" smtClean="0"/>
              <a:t>Lot </a:t>
            </a:r>
            <a:r>
              <a:rPr lang="en-US" altLang="ko-KR" sz="1200" dirty="0"/>
              <a:t>(</a:t>
            </a:r>
            <a:r>
              <a:rPr lang="ko-KR" altLang="en-US" sz="1200" dirty="0"/>
              <a:t>총 </a:t>
            </a:r>
            <a:r>
              <a:rPr lang="en-US" altLang="ko-KR" sz="1200" dirty="0" err="1" smtClean="0"/>
              <a:t>xxxx</a:t>
            </a:r>
            <a:r>
              <a:rPr lang="ko-KR" altLang="en-US" sz="1200" dirty="0" smtClean="0"/>
              <a:t>개</a:t>
            </a:r>
            <a:r>
              <a:rPr lang="en-US" altLang="ko-KR" sz="1200" dirty="0"/>
              <a:t>)</a:t>
            </a:r>
            <a:r>
              <a:rPr lang="ko-KR" altLang="en-US" sz="1200" dirty="0"/>
              <a:t>에 대하여 단선 발생 전후의 불순물 함량 </a:t>
            </a:r>
            <a:r>
              <a:rPr lang="ko-KR" altLang="en-US" sz="1200" dirty="0" smtClean="0"/>
              <a:t>정도 </a:t>
            </a:r>
            <a:r>
              <a:rPr lang="ko-KR" altLang="en-US" sz="1200" dirty="0"/>
              <a:t>비교 </a:t>
            </a:r>
            <a:r>
              <a:rPr lang="ko-KR" altLang="en-US" sz="1200" dirty="0" smtClean="0"/>
              <a:t>분석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327786" y="1932438"/>
            <a:ext cx="12537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200" dirty="0" smtClean="0"/>
              <a:t>xx</a:t>
            </a:r>
            <a:r>
              <a:rPr lang="ko-KR" altLang="en-US" sz="1200" dirty="0" smtClean="0"/>
              <a:t>년 </a:t>
            </a:r>
            <a:r>
              <a:rPr lang="en-US" altLang="ko-KR" sz="1200" dirty="0" smtClean="0"/>
              <a:t>01</a:t>
            </a:r>
            <a:r>
              <a:rPr lang="ko-KR" altLang="en-US" sz="1200" dirty="0" smtClean="0"/>
              <a:t>월 </a:t>
            </a:r>
            <a:r>
              <a:rPr lang="en-US" altLang="ko-KR" sz="1200" dirty="0" smtClean="0"/>
              <a:t>06</a:t>
            </a:r>
            <a:r>
              <a:rPr lang="ko-KR" altLang="en-US" sz="1200" dirty="0" smtClean="0"/>
              <a:t>일</a:t>
            </a:r>
            <a:endParaRPr lang="en-US" altLang="ko-KR" sz="1200" dirty="0" smtClean="0"/>
          </a:p>
          <a:p>
            <a:pPr algn="ctr"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xx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년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11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월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21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일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51374" y="3923925"/>
            <a:ext cx="4433152" cy="548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1" indent="-180975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o-KR" altLang="en-US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단선 발생 당일 전후 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1</a:t>
            </a:r>
            <a:r>
              <a:rPr lang="ko-KR" altLang="en-US" sz="1300" b="1">
                <a:solidFill>
                  <a:prstClr val="black"/>
                </a:solidFill>
                <a:latin typeface="맑은 고딕" panose="020B0503020000020004" pitchFamily="50" charset="-127"/>
              </a:rPr>
              <a:t>일 포함한 총 </a:t>
            </a:r>
            <a:r>
              <a:rPr lang="en-US" altLang="ko-KR" sz="1300" b="1" dirty="0">
                <a:solidFill>
                  <a:prstClr val="black"/>
                </a:solidFill>
                <a:latin typeface="맑은 고딕" panose="020B0503020000020004" pitchFamily="50" charset="-127"/>
              </a:rPr>
              <a:t>3</a:t>
            </a:r>
            <a:r>
              <a:rPr lang="ko-KR" altLang="en-US" sz="1300" b="1">
                <a:solidFill>
                  <a:prstClr val="black"/>
                </a:solidFill>
                <a:latin typeface="맑은 고딕" panose="020B0503020000020004" pitchFamily="50" charset="-127"/>
              </a:rPr>
              <a:t>일간의 각 화학성분 및 불순물 함량 비교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413136" y="4475613"/>
            <a:ext cx="4297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kern="0" dirty="0">
                <a:latin typeface="+mn-ea"/>
              </a:rPr>
              <a:t>화학성분</a:t>
            </a:r>
            <a:r>
              <a:rPr lang="en-US" altLang="ko-KR" sz="1200" kern="0" dirty="0">
                <a:latin typeface="+mn-ea"/>
              </a:rPr>
              <a:t> </a:t>
            </a:r>
            <a:r>
              <a:rPr lang="en-US" altLang="ko-KR" sz="1200" kern="0" dirty="0" smtClean="0">
                <a:latin typeface="+mn-ea"/>
              </a:rPr>
              <a:t>xx</a:t>
            </a:r>
            <a:r>
              <a:rPr lang="ko-KR" altLang="en-US" sz="1200" kern="0" dirty="0" smtClean="0">
                <a:latin typeface="+mn-ea"/>
              </a:rPr>
              <a:t>개 </a:t>
            </a:r>
            <a:r>
              <a:rPr lang="ko-KR" altLang="en-US" sz="1200" kern="0" dirty="0" smtClean="0">
                <a:latin typeface="+mn-ea"/>
              </a:rPr>
              <a:t>中 특정 원소의 수치 변동이 발생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51" name="표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9729261"/>
              </p:ext>
            </p:extLst>
          </p:nvPr>
        </p:nvGraphicFramePr>
        <p:xfrm>
          <a:off x="536011" y="4930244"/>
          <a:ext cx="4074090" cy="756181"/>
        </p:xfrm>
        <a:graphic>
          <a:graphicData uri="http://schemas.openxmlformats.org/drawingml/2006/table">
            <a:tbl>
              <a:tblPr/>
              <a:tblGrid>
                <a:gridCol w="4841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4374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</a:tblGrid>
              <a:tr h="19961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  <a:endParaRPr lang="ko-KR" alt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ko-KR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8.01.06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50" dirty="0" smtClean="0"/>
                        <a:t>O</a:t>
                      </a:r>
                      <a:endParaRPr lang="ko-KR" altLang="en-US" sz="105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50" dirty="0" smtClean="0"/>
                        <a:t>O</a:t>
                      </a:r>
                      <a:endParaRPr lang="ko-KR" altLang="en-US" sz="105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50" dirty="0" smtClean="0"/>
                        <a:t>X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50" dirty="0" smtClean="0"/>
                        <a:t>X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50" dirty="0" smtClean="0"/>
                        <a:t>X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50" dirty="0" smtClean="0"/>
                        <a:t>X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O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X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X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X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O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X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X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dirty="0" smtClean="0"/>
                        <a:t>O</a:t>
                      </a:r>
                      <a:endParaRPr lang="ko-KR" altLang="en-US" sz="1050" dirty="0" smtClean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X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O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28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.11.21</a:t>
                      </a:r>
                      <a:endParaRPr lang="en-US" altLang="ko-KR" sz="900" b="1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50" dirty="0" smtClean="0"/>
                        <a:t>O</a:t>
                      </a:r>
                      <a:endParaRPr lang="ko-KR" altLang="en-US" sz="105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50" dirty="0" smtClean="0"/>
                        <a:t>O</a:t>
                      </a:r>
                      <a:endParaRPr lang="ko-KR" altLang="en-US" sz="105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50" dirty="0" smtClean="0"/>
                        <a:t>X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50" dirty="0" smtClean="0"/>
                        <a:t>X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50" dirty="0" smtClean="0"/>
                        <a:t>X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50" dirty="0" smtClean="0"/>
                        <a:t>X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O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X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X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X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O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X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X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dirty="0" smtClean="0"/>
                        <a:t>O</a:t>
                      </a:r>
                      <a:endParaRPr lang="ko-KR" altLang="en-US" sz="1050" smtClean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X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dirty="0" smtClean="0"/>
                        <a:t>O</a:t>
                      </a:r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7" name="표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0514170"/>
              </p:ext>
            </p:extLst>
          </p:nvPr>
        </p:nvGraphicFramePr>
        <p:xfrm>
          <a:off x="5276851" y="1874434"/>
          <a:ext cx="2923885" cy="163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6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85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64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5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351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351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23877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ㅇㅇ</a:t>
                      </a:r>
                      <a:r>
                        <a:rPr lang="ko-KR" altLang="en-US" sz="11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  </a:t>
                      </a:r>
                      <a:endParaRPr lang="ko-KR" altLang="en-US" sz="11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ㅇㅇ</a:t>
                      </a:r>
                      <a:r>
                        <a:rPr lang="ko-KR" altLang="en-US" sz="11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 </a:t>
                      </a:r>
                      <a:r>
                        <a:rPr lang="ko-KR" altLang="en-US" sz="110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발생  </a:t>
                      </a:r>
                      <a:endParaRPr lang="ko-KR" altLang="en-US" sz="11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ㅇㅇ</a:t>
                      </a:r>
                      <a:endParaRPr lang="ko-KR" altLang="en-US" sz="11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1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7494">
                <a:tc rowSpan="6">
                  <a:txBody>
                    <a:bodyPr/>
                    <a:lstStyle/>
                    <a:p>
                      <a:pPr algn="ctr" latinLnBrk="1">
                        <a:lnSpc>
                          <a:spcPct val="150000"/>
                        </a:lnSpc>
                      </a:pPr>
                      <a:r>
                        <a:rPr lang="ko-KR" altLang="en-US" sz="105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합격</a:t>
                      </a:r>
                      <a:endParaRPr lang="en-US" altLang="ko-KR" sz="1050" dirty="0" smtClean="0">
                        <a:solidFill>
                          <a:sysClr val="windowText" lastClr="000000"/>
                        </a:solidFill>
                        <a:latin typeface="맑은 고딕" panose="020B0503020000020004" pitchFamily="50" charset="-127"/>
                        <a:ea typeface="+mn-ea"/>
                      </a:endParaRPr>
                    </a:p>
                  </a:txBody>
                  <a:tcPr marL="36000" marR="36000" marT="36000" marB="36000" anchor="ctr">
                    <a:lnL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r" latinLnBrk="1"/>
                      <a:endParaRPr lang="ko-KR" altLang="en-US" sz="1050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ko-KR" altLang="en-US" sz="1050" dirty="0" smtClean="0">
                          <a:solidFill>
                            <a:sysClr val="windowText" lastClr="000000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정상</a:t>
                      </a:r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r" latinLnBrk="1"/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dirty="0" smtClean="0">
                          <a:solidFill>
                            <a:sysClr val="windowText" lastClr="000000"/>
                          </a:solidFill>
                        </a:rPr>
                        <a:t>1</a:t>
                      </a:r>
                      <a:r>
                        <a:rPr lang="ko-KR" altLang="en-US" sz="1050" smtClean="0">
                          <a:solidFill>
                            <a:sysClr val="windowText" lastClr="000000"/>
                          </a:solidFill>
                        </a:rPr>
                        <a:t>등급</a:t>
                      </a:r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74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dirty="0" smtClean="0">
                          <a:solidFill>
                            <a:sysClr val="windowText" lastClr="000000"/>
                          </a:solidFill>
                        </a:rPr>
                        <a:t>2</a:t>
                      </a:r>
                      <a:r>
                        <a:rPr lang="ko-KR" altLang="en-US" sz="1050" smtClean="0">
                          <a:solidFill>
                            <a:sysClr val="windowText" lastClr="000000"/>
                          </a:solidFill>
                        </a:rPr>
                        <a:t>등급</a:t>
                      </a:r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74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dirty="0" smtClean="0">
                          <a:solidFill>
                            <a:sysClr val="windowText" lastClr="000000"/>
                          </a:solidFill>
                        </a:rPr>
                        <a:t>3</a:t>
                      </a:r>
                      <a:r>
                        <a:rPr lang="ko-KR" altLang="en-US" sz="1050" smtClean="0">
                          <a:solidFill>
                            <a:sysClr val="windowText" lastClr="000000"/>
                          </a:solidFill>
                        </a:rPr>
                        <a:t>등급</a:t>
                      </a:r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74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dirty="0" smtClean="0">
                          <a:solidFill>
                            <a:sysClr val="windowText" lastClr="000000"/>
                          </a:solidFill>
                        </a:rPr>
                        <a:t>4</a:t>
                      </a:r>
                      <a:r>
                        <a:rPr lang="ko-KR" altLang="en-US" sz="1050" smtClean="0">
                          <a:solidFill>
                            <a:sysClr val="windowText" lastClr="000000"/>
                          </a:solidFill>
                        </a:rPr>
                        <a:t>등급</a:t>
                      </a:r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749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dirty="0" smtClean="0">
                          <a:solidFill>
                            <a:srgbClr val="FF0000"/>
                          </a:solidFill>
                          <a:latin typeface="맑은 고딕" panose="020B0503020000020004" pitchFamily="50" charset="-127"/>
                          <a:ea typeface="+mn-ea"/>
                        </a:rPr>
                        <a:t>단선</a:t>
                      </a:r>
                      <a:endParaRPr lang="ko-KR" altLang="en-US" sz="1050" b="1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latinLnBrk="1"/>
                      <a:endParaRPr lang="ko-KR" altLang="en-US" sz="1050" b="1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dirty="0" smtClean="0">
                          <a:solidFill>
                            <a:sysClr val="windowText" lastClr="000000"/>
                          </a:solidFill>
                        </a:rPr>
                        <a:t>3</a:t>
                      </a:r>
                      <a:r>
                        <a:rPr lang="ko-KR" altLang="en-US" sz="1050" smtClean="0">
                          <a:solidFill>
                            <a:sysClr val="windowText" lastClr="000000"/>
                          </a:solidFill>
                        </a:rPr>
                        <a:t>등급</a:t>
                      </a:r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749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dirty="0" smtClean="0">
                          <a:solidFill>
                            <a:sysClr val="windowText" lastClr="000000"/>
                          </a:solidFill>
                        </a:rPr>
                        <a:t>4</a:t>
                      </a:r>
                      <a:r>
                        <a:rPr lang="ko-KR" altLang="en-US" sz="1050" smtClean="0">
                          <a:solidFill>
                            <a:sysClr val="windowText" lastClr="000000"/>
                          </a:solidFill>
                        </a:rPr>
                        <a:t>등급</a:t>
                      </a:r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endParaRPr lang="ko-KR" altLang="en-US" sz="105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58" name="그룹 57"/>
          <p:cNvGrpSpPr/>
          <p:nvPr/>
        </p:nvGrpSpPr>
        <p:grpSpPr>
          <a:xfrm>
            <a:off x="8212093" y="2653460"/>
            <a:ext cx="253939" cy="795162"/>
            <a:chOff x="8015416" y="1711431"/>
            <a:chExt cx="280087" cy="944210"/>
          </a:xfrm>
        </p:grpSpPr>
        <p:sp>
          <p:nvSpPr>
            <p:cNvPr id="59" name="오른쪽 대괄호 58"/>
            <p:cNvSpPr/>
            <p:nvPr/>
          </p:nvSpPr>
          <p:spPr>
            <a:xfrm>
              <a:off x="8015417" y="1711431"/>
              <a:ext cx="222422" cy="675503"/>
            </a:xfrm>
            <a:prstGeom prst="rightBracket">
              <a:avLst/>
            </a:prstGeom>
            <a:ln>
              <a:solidFill>
                <a:srgbClr val="0000FF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0" name="오른쪽 대괄호 59"/>
            <p:cNvSpPr/>
            <p:nvPr/>
          </p:nvSpPr>
          <p:spPr>
            <a:xfrm>
              <a:off x="8015416" y="2047858"/>
              <a:ext cx="280087" cy="607783"/>
            </a:xfrm>
            <a:prstGeom prst="rightBracket">
              <a:avLst/>
            </a:prstGeom>
            <a:ln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61" name="타원 60"/>
          <p:cNvSpPr/>
          <p:nvPr/>
        </p:nvSpPr>
        <p:spPr>
          <a:xfrm>
            <a:off x="8490230" y="2753198"/>
            <a:ext cx="180000" cy="18000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050" b="1" dirty="0"/>
              <a:t>1</a:t>
            </a:r>
            <a:endParaRPr lang="ko-KR" altLang="en-US" sz="1050" b="1"/>
          </a:p>
        </p:txBody>
      </p:sp>
      <p:sp>
        <p:nvSpPr>
          <p:cNvPr id="62" name="타원 61"/>
          <p:cNvSpPr/>
          <p:nvPr/>
        </p:nvSpPr>
        <p:spPr>
          <a:xfrm>
            <a:off x="8494524" y="3157040"/>
            <a:ext cx="180000" cy="180000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ko-KR" sz="1050" b="1" dirty="0" smtClean="0"/>
              <a:t>2</a:t>
            </a:r>
            <a:endParaRPr lang="ko-KR" altLang="en-US" sz="1050" b="1"/>
          </a:p>
        </p:txBody>
      </p:sp>
      <p:sp>
        <p:nvSpPr>
          <p:cNvPr id="63" name="TextBox 62"/>
          <p:cNvSpPr txBox="1"/>
          <p:nvPr/>
        </p:nvSpPr>
        <p:spPr>
          <a:xfrm>
            <a:off x="8694464" y="2484888"/>
            <a:ext cx="9638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등급간 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공정 조건 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  <a:p>
            <a:pPr algn="ctr">
              <a:lnSpc>
                <a:spcPct val="150000"/>
              </a:lnSpc>
            </a:pP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</a:rPr>
              <a:t>분석 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5223261" y="3542163"/>
            <a:ext cx="4297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/>
              <a:t>① </a:t>
            </a:r>
            <a:r>
              <a:rPr lang="en-US" altLang="ko-KR" sz="1200" dirty="0" smtClean="0"/>
              <a:t> </a:t>
            </a:r>
            <a:r>
              <a:rPr lang="ko-KR" altLang="en-US" sz="1200" smtClean="0"/>
              <a:t>두 그룹간 바온도와 동액온도가 상이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223261" y="4856613"/>
            <a:ext cx="4297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 smtClean="0"/>
              <a:t>② </a:t>
            </a:r>
            <a:r>
              <a:rPr lang="en-US" altLang="ko-KR" sz="1200" dirty="0" smtClean="0"/>
              <a:t> </a:t>
            </a:r>
            <a:r>
              <a:rPr lang="ko-KR" altLang="en-US" sz="1200" smtClean="0"/>
              <a:t>두 그룹간 주조속도와 </a:t>
            </a:r>
            <a:r>
              <a:rPr lang="en-US" altLang="ko-KR" sz="1200" dirty="0" smtClean="0"/>
              <a:t>H/F </a:t>
            </a:r>
            <a:r>
              <a:rPr lang="ko-KR" altLang="en-US" sz="1200" smtClean="0"/>
              <a:t>레벨이 상이</a:t>
            </a:r>
            <a:endParaRPr lang="en-US" altLang="ko-KR" sz="12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68" name="표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688933"/>
              </p:ext>
            </p:extLst>
          </p:nvPr>
        </p:nvGraphicFramePr>
        <p:xfrm>
          <a:off x="5321795" y="3895726"/>
          <a:ext cx="4276732" cy="8477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0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3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26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20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244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789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82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4668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</a:rPr>
                        <a:t>구분</a:t>
                      </a:r>
                      <a:endParaRPr lang="en-US" altLang="ko-KR" sz="1050" b="0" i="0" u="none" strike="noStrike" dirty="0" smtClean="0">
                        <a:solidFill>
                          <a:schemeClr val="dk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50" b="0" i="0" u="none" strike="noStrike" dirty="0" smtClean="0">
                        <a:solidFill>
                          <a:schemeClr val="dk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/>
                        <a:t>평균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smtClean="0"/>
                        <a:t>중앙값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/>
                        <a:t>최대값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/>
                        <a:t>최소값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/>
                        <a:t>데이터 수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6685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50" dirty="0" err="1" smtClean="0">
                          <a:latin typeface="+mn-ea"/>
                          <a:ea typeface="+mn-ea"/>
                        </a:rPr>
                        <a:t>dd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>
                          <a:latin typeface="+mn-ea"/>
                          <a:ea typeface="+mn-ea"/>
                        </a:rPr>
                        <a:t>정상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50"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6685">
                <a:tc vMerge="1">
                  <a:txBody>
                    <a:bodyPr/>
                    <a:lstStyle/>
                    <a:p>
                      <a:pPr algn="ctr"/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>
                          <a:latin typeface="+mn-ea"/>
                          <a:ea typeface="+mn-ea"/>
                        </a:rPr>
                        <a:t>단선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6685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50" dirty="0" err="1" smtClean="0">
                          <a:latin typeface="+mn-ea"/>
                          <a:ea typeface="+mn-ea"/>
                        </a:rPr>
                        <a:t>dd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>
                          <a:latin typeface="+mn-ea"/>
                          <a:ea typeface="+mn-ea"/>
                        </a:rPr>
                        <a:t>정상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smtClean="0"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smtClean="0"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dirty="0" smtClean="0"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50" dirty="0" smtClean="0"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6685">
                <a:tc vMerge="1">
                  <a:txBody>
                    <a:bodyPr/>
                    <a:lstStyle/>
                    <a:p>
                      <a:pPr algn="ctr"/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>
                          <a:latin typeface="+mn-ea"/>
                          <a:ea typeface="+mn-ea"/>
                        </a:rPr>
                        <a:t>단선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70" name="표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8045818"/>
              </p:ext>
            </p:extLst>
          </p:nvPr>
        </p:nvGraphicFramePr>
        <p:xfrm>
          <a:off x="5321795" y="5295901"/>
          <a:ext cx="4276732" cy="8477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00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3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26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20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244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789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82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6002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05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</a:rPr>
                        <a:t>구분</a:t>
                      </a:r>
                      <a:endParaRPr lang="en-US" altLang="ko-KR" sz="1050" b="0" i="0" u="none" strike="noStrike" dirty="0" smtClean="0">
                        <a:solidFill>
                          <a:schemeClr val="dk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050" b="0" i="0" u="none" strike="noStrike" dirty="0" smtClean="0">
                        <a:solidFill>
                          <a:schemeClr val="dk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/>
                        <a:t>평균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smtClean="0"/>
                        <a:t>중앙값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/>
                        <a:t>최대값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/>
                        <a:t>최소값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/>
                        <a:t>데이터 수</a:t>
                      </a:r>
                      <a:endParaRPr lang="ko-KR" altLang="en-US" sz="105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020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50" dirty="0" err="1" smtClean="0">
                          <a:latin typeface="+mn-ea"/>
                          <a:ea typeface="+mn-ea"/>
                        </a:rPr>
                        <a:t>dd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>
                          <a:latin typeface="+mn-ea"/>
                          <a:ea typeface="+mn-ea"/>
                        </a:rPr>
                        <a:t>정상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5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5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5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ko-KR" altLang="en-US" sz="105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5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0020">
                <a:tc vMerge="1">
                  <a:txBody>
                    <a:bodyPr/>
                    <a:lstStyle/>
                    <a:p>
                      <a:pPr algn="ctr"/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>
                          <a:latin typeface="+mn-ea"/>
                          <a:ea typeface="+mn-ea"/>
                        </a:rPr>
                        <a:t>단선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0020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1050" dirty="0" err="1" smtClean="0">
                          <a:latin typeface="+mn-ea"/>
                          <a:ea typeface="+mn-ea"/>
                        </a:rPr>
                        <a:t>dd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>
                          <a:latin typeface="+mn-ea"/>
                          <a:ea typeface="+mn-ea"/>
                        </a:rPr>
                        <a:t>정상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ko-KR" altLang="en-US" sz="1050" kern="120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ko-KR" altLang="en-US" sz="105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ko-KR" altLang="en-US" sz="105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ko-KR" altLang="en-US" sz="105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1" hangingPunct="1"/>
                      <a:endParaRPr lang="en-US" altLang="ko-KR" sz="1050" kern="1200" dirty="0">
                        <a:solidFill>
                          <a:schemeClr val="dk1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020">
                <a:tc vMerge="1">
                  <a:txBody>
                    <a:bodyPr/>
                    <a:lstStyle/>
                    <a:p>
                      <a:pPr algn="ctr"/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050" dirty="0" smtClean="0">
                          <a:latin typeface="+mn-ea"/>
                          <a:ea typeface="+mn-ea"/>
                        </a:rPr>
                        <a:t>단선</a:t>
                      </a:r>
                      <a:endParaRPr lang="ko-KR" altLang="en-US" sz="1050" dirty="0">
                        <a:latin typeface="+mn-ea"/>
                        <a:ea typeface="+mn-ea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4129" marR="4129" marT="4129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4958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5512" y="209756"/>
            <a:ext cx="9049500" cy="360000"/>
          </a:xfrm>
        </p:spPr>
        <p:txBody>
          <a:bodyPr>
            <a:normAutofit fontScale="90000"/>
          </a:bodyPr>
          <a:lstStyle/>
          <a:p>
            <a:r>
              <a:rPr lang="en-US" altLang="ko-KR" dirty="0" smtClean="0">
                <a:latin typeface="+mj-ea"/>
              </a:rPr>
              <a:t>3. </a:t>
            </a:r>
            <a:r>
              <a:rPr lang="ko-KR" altLang="en-US" dirty="0" err="1" smtClean="0">
                <a:latin typeface="+mj-ea"/>
              </a:rPr>
              <a:t>ㅇㅇㅇ</a:t>
            </a:r>
            <a:r>
              <a:rPr lang="en-US" altLang="ko-KR" dirty="0" smtClean="0">
                <a:latin typeface="+mj-ea"/>
              </a:rPr>
              <a:t> </a:t>
            </a:r>
            <a:r>
              <a:rPr lang="en-US" altLang="ko-KR" dirty="0">
                <a:latin typeface="+mj-ea"/>
              </a:rPr>
              <a:t>– 3</a:t>
            </a:r>
            <a:r>
              <a:rPr lang="en-US" altLang="ko-KR" dirty="0" smtClean="0">
                <a:latin typeface="+mj-ea"/>
              </a:rPr>
              <a:t>) </a:t>
            </a:r>
            <a:r>
              <a:rPr lang="ko-KR" altLang="en-US" dirty="0" smtClean="0">
                <a:latin typeface="+mj-ea"/>
              </a:rPr>
              <a:t>단선 원인을 분석 해 보았습니다</a:t>
            </a:r>
            <a:r>
              <a:rPr lang="en-US" altLang="ko-KR" dirty="0" smtClean="0">
                <a:latin typeface="+mj-ea"/>
              </a:rPr>
              <a:t>. (3/6) </a:t>
            </a:r>
            <a:endParaRPr lang="en-US" altLang="ko-KR" dirty="0">
              <a:latin typeface="+mj-ea"/>
            </a:endParaRPr>
          </a:p>
        </p:txBody>
      </p:sp>
      <p:grpSp>
        <p:nvGrpSpPr>
          <p:cNvPr id="24" name="그룹 23"/>
          <p:cNvGrpSpPr/>
          <p:nvPr/>
        </p:nvGrpSpPr>
        <p:grpSpPr>
          <a:xfrm>
            <a:off x="130962" y="833613"/>
            <a:ext cx="9870287" cy="350865"/>
            <a:chOff x="130963" y="833613"/>
            <a:chExt cx="5157526" cy="350865"/>
          </a:xfrm>
        </p:grpSpPr>
        <p:sp>
          <p:nvSpPr>
            <p:cNvPr id="8" name="TextBox 7"/>
            <p:cNvSpPr txBox="1"/>
            <p:nvPr/>
          </p:nvSpPr>
          <p:spPr>
            <a:xfrm>
              <a:off x="130963" y="833613"/>
              <a:ext cx="5157526" cy="350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ko-KR" altLang="en-US" sz="1400" b="1" dirty="0" err="1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ㅇㅇ</a:t>
              </a: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 </a:t>
              </a:r>
              <a:r>
                <a:rPr kumimoji="1" lang="ko-KR" altLang="en-US" sz="1400" b="1" dirty="0" smtClean="0">
                  <a:solidFill>
                    <a:prstClr val="black"/>
                  </a:solidFill>
                  <a:latin typeface="맑은 고딕" panose="020B0503020000020004" pitchFamily="50" charset="-127"/>
                </a:rPr>
                <a:t>문제 발생 그룹과 그 외 그룹간의 통계적 차이 분석</a:t>
              </a:r>
              <a:endParaRPr kumimoji="1" lang="ko-KR" altLang="en-US" sz="1400" b="1" dirty="0">
                <a:solidFill>
                  <a:prstClr val="black"/>
                </a:solidFill>
                <a:latin typeface="맑은 고딕" panose="020B0503020000020004" pitchFamily="50" charset="-127"/>
              </a:endParaRPr>
            </a:p>
          </p:txBody>
        </p:sp>
        <p:cxnSp>
          <p:nvCxnSpPr>
            <p:cNvPr id="9" name="직선 연결선 8"/>
            <p:cNvCxnSpPr/>
            <p:nvPr/>
          </p:nvCxnSpPr>
          <p:spPr>
            <a:xfrm>
              <a:off x="525567" y="1159537"/>
              <a:ext cx="4250629" cy="0"/>
            </a:xfrm>
            <a:prstGeom prst="lin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</a:ln>
            <a:effectLst/>
          </p:spPr>
        </p:cxnSp>
      </p:grpSp>
      <p:sp>
        <p:nvSpPr>
          <p:cNvPr id="10" name="TextBox 9"/>
          <p:cNvSpPr txBox="1"/>
          <p:nvPr/>
        </p:nvSpPr>
        <p:spPr>
          <a:xfrm>
            <a:off x="493101" y="1242928"/>
            <a:ext cx="4812324" cy="312769"/>
          </a:xfrm>
          <a:prstGeom prst="rect">
            <a:avLst/>
          </a:prstGeom>
          <a:noFill/>
        </p:spPr>
        <p:txBody>
          <a:bodyPr wrap="square" lIns="72000" tIns="36000" rIns="36000" bIns="36000" rtlCol="0">
            <a:spAutoFit/>
          </a:bodyPr>
          <a:lstStyle/>
          <a:p>
            <a:pPr marL="0" lvl="1">
              <a:lnSpc>
                <a:spcPct val="120000"/>
              </a:lnSpc>
              <a:spcAft>
                <a:spcPts val="600"/>
              </a:spcAft>
            </a:pP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Q. 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두 그룹을 구분하여 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T-test </a:t>
            </a:r>
            <a:r>
              <a:rPr lang="ko-KR" altLang="en-US" sz="1300" b="1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를 수행하면 차이가 나는 변수는</a:t>
            </a:r>
            <a:r>
              <a:rPr lang="en-US" altLang="ko-KR" sz="1300" b="1" dirty="0" smtClean="0">
                <a:solidFill>
                  <a:prstClr val="black"/>
                </a:solidFill>
                <a:latin typeface="맑은 고딕" panose="020B0503020000020004" pitchFamily="50" charset="-127"/>
                <a:sym typeface="Wingdings" panose="05000000000000000000" pitchFamily="2" charset="2"/>
              </a:rPr>
              <a:t>?</a:t>
            </a:r>
            <a:endParaRPr lang="ko-KR" altLang="en-US" sz="1300" b="1">
              <a:solidFill>
                <a:prstClr val="black"/>
              </a:solidFill>
              <a:latin typeface="맑은 고딕" panose="020B0503020000020004" pitchFamily="50" charset="-127"/>
              <a:sym typeface="Wingdings" panose="05000000000000000000" pitchFamily="2" charset="2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59067" y="1606015"/>
            <a:ext cx="44206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A.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정상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ㅇ개와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단선 발생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개를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그룹으로 비교하면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..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3" name="표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2668473"/>
              </p:ext>
            </p:extLst>
          </p:nvPr>
        </p:nvGraphicFramePr>
        <p:xfrm>
          <a:off x="5743575" y="1820497"/>
          <a:ext cx="3779535" cy="3564302"/>
        </p:xfrm>
        <a:graphic>
          <a:graphicData uri="http://schemas.openxmlformats.org/drawingml/2006/table">
            <a:tbl>
              <a:tblPr/>
              <a:tblGrid>
                <a:gridCol w="298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1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7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69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8101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69159">
                <a:tc rowSpan="2">
                  <a:txBody>
                    <a:bodyPr/>
                    <a:lstStyle/>
                    <a:p>
                      <a:pPr algn="ctr" fontAlgn="b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순위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ko-KR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절대값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 value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15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단선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 </a:t>
                      </a:r>
                      <a:r>
                        <a:rPr lang="ko-KR" alt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그룹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o-KR" alt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단선 그룹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0"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</a:t>
                      </a:r>
                      <a:endParaRPr lang="ko-KR" altLang="en-US" sz="10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4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ko-KR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0162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</a:t>
                      </a:r>
                      <a:endParaRPr lang="ko-KR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90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72938" y="2181035"/>
            <a:ext cx="4331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Tx/>
              <a:buChar char="-"/>
            </a:pP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유의수준 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0.05 </a:t>
            </a:r>
            <a:r>
              <a:rPr lang="ko-KR" altLang="en-US" sz="1200" smtClean="0">
                <a:solidFill>
                  <a:schemeClr val="bg2">
                    <a:lumMod val="25000"/>
                  </a:schemeClr>
                </a:solidFill>
                <a:latin typeface="+mn-ea"/>
              </a:rPr>
              <a:t>기준 차이가 있는 것 중 순위를 나열하면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  <a:latin typeface="+mn-ea"/>
            </a:endParaRPr>
          </a:p>
        </p:txBody>
      </p:sp>
      <p:sp>
        <p:nvSpPr>
          <p:cNvPr id="15" name="직사각형 14">
            <a:hlinkClick r:id="rId2" action="ppaction://hlinksldjump"/>
          </p:cNvPr>
          <p:cNvSpPr/>
          <p:nvPr/>
        </p:nvSpPr>
        <p:spPr>
          <a:xfrm>
            <a:off x="4604238" y="2332160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dirty="0" smtClean="0">
                <a:solidFill>
                  <a:schemeClr val="tx1"/>
                </a:solidFill>
              </a:rPr>
              <a:t>전체 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9613" y="5612368"/>
            <a:ext cx="4675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☞ 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화학성분 중 </a:t>
            </a:r>
            <a:r>
              <a:rPr lang="ko-KR" altLang="en-US" sz="1200" b="1" dirty="0" err="1" smtClean="0">
                <a:solidFill>
                  <a:srgbClr val="0000FF"/>
                </a:solidFill>
                <a:latin typeface="+mn-ea"/>
              </a:rPr>
              <a:t>ㅇㅇㅇ</a:t>
            </a:r>
            <a:r>
              <a:rPr lang="en-US" altLang="ko-KR" sz="1200" b="1" dirty="0" smtClean="0">
                <a:solidFill>
                  <a:srgbClr val="0000FF"/>
                </a:solidFill>
                <a:latin typeface="+mn-ea"/>
              </a:rPr>
              <a:t>, 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이 단선에 따른 차이 존재</a:t>
            </a:r>
            <a:endParaRPr lang="ko-KR" altLang="en-US" sz="1200" b="1" dirty="0">
              <a:solidFill>
                <a:srgbClr val="0000FF"/>
              </a:solidFill>
              <a:latin typeface="+mn-ea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601844"/>
              </p:ext>
            </p:extLst>
          </p:nvPr>
        </p:nvGraphicFramePr>
        <p:xfrm>
          <a:off x="590549" y="2692400"/>
          <a:ext cx="4371974" cy="2622550"/>
        </p:xfrm>
        <a:graphic>
          <a:graphicData uri="http://schemas.openxmlformats.org/drawingml/2006/table">
            <a:tbl>
              <a:tblPr/>
              <a:tblGrid>
                <a:gridCol w="3968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75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93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68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968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769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298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374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0199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순위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항목</a:t>
                      </a:r>
                      <a:r>
                        <a:rPr lang="ko-KR" alt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　</a:t>
                      </a: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정상</a:t>
                      </a:r>
                      <a:r>
                        <a:rPr lang="ko-KR" alt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그룹</a:t>
                      </a:r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 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+mn-ea"/>
                        </a:rPr>
                        <a:t>단선 발생 그룹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 </a:t>
                      </a:r>
                      <a:r>
                        <a:rPr lang="ko-KR" alt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절대값</a:t>
                      </a: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 value</a:t>
                      </a: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204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수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균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수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균</a:t>
                      </a:r>
                      <a:endParaRPr lang="ko-KR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475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75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475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475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475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475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altLang="ko-KR" sz="1050" b="0" i="0" u="none" strike="noStrike" dirty="0"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7477" marR="7477" marT="7477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9" name="직사각형 18">
            <a:hlinkClick r:id="rId3" action="ppaction://hlinksldjump"/>
          </p:cNvPr>
          <p:cNvSpPr/>
          <p:nvPr/>
        </p:nvSpPr>
        <p:spPr>
          <a:xfrm>
            <a:off x="9271488" y="1522535"/>
            <a:ext cx="501160" cy="219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ko-KR" altLang="en-US" sz="800" dirty="0" smtClean="0">
                <a:solidFill>
                  <a:schemeClr val="tx1"/>
                </a:solidFill>
              </a:rPr>
              <a:t>전체 </a:t>
            </a:r>
            <a:endParaRPr lang="ko-KR" altLang="en-US" sz="800" dirty="0">
              <a:solidFill>
                <a:schemeClr val="tx1"/>
              </a:solidFill>
            </a:endParaRPr>
          </a:p>
        </p:txBody>
      </p:sp>
      <p:sp>
        <p:nvSpPr>
          <p:cNvPr id="21" name="Rectangle 2"/>
          <p:cNvSpPr>
            <a:spLocks noChangeArrowheads="1"/>
          </p:cNvSpPr>
          <p:nvPr/>
        </p:nvSpPr>
        <p:spPr bwMode="auto">
          <a:xfrm>
            <a:off x="904875" y="1681163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30" name="TextBox 29"/>
          <p:cNvSpPr txBox="1"/>
          <p:nvPr/>
        </p:nvSpPr>
        <p:spPr>
          <a:xfrm>
            <a:off x="5583492" y="1215490"/>
            <a:ext cx="44206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A.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정상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ㅇㅇㅇ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개와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단선 </a:t>
            </a:r>
            <a:r>
              <a:rPr lang="ko-KR" altLang="en-US" sz="1200" dirty="0" err="1" smtClean="0">
                <a:solidFill>
                  <a:schemeClr val="bg2">
                    <a:lumMod val="25000"/>
                  </a:schemeClr>
                </a:solidFill>
              </a:rPr>
              <a:t>발생ㅇㅇ개를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ko-KR" altLang="en-US" sz="1200" dirty="0" smtClean="0">
                <a:solidFill>
                  <a:schemeClr val="bg2">
                    <a:lumMod val="25000"/>
                  </a:schemeClr>
                </a:solidFill>
              </a:rPr>
              <a:t>그룹으로 비교하면</a:t>
            </a:r>
            <a:r>
              <a:rPr lang="en-US" altLang="ko-KR" sz="1200" dirty="0" smtClean="0">
                <a:solidFill>
                  <a:schemeClr val="bg2">
                    <a:lumMod val="25000"/>
                  </a:schemeClr>
                </a:solidFill>
              </a:rPr>
              <a:t>..</a:t>
            </a:r>
            <a:endParaRPr lang="ko-KR" alt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611399" y="5645272"/>
            <a:ext cx="4675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b="1" dirty="0" smtClean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☞ </a:t>
            </a:r>
            <a:r>
              <a:rPr lang="ko-KR" altLang="en-US" sz="1200" b="1" dirty="0" err="1" smtClean="0">
                <a:solidFill>
                  <a:srgbClr val="0000FF"/>
                </a:solidFill>
                <a:latin typeface="+mn-ea"/>
              </a:rPr>
              <a:t>ㅇㅇㅇ중</a:t>
            </a:r>
            <a:r>
              <a:rPr lang="en-US" altLang="ko-KR" sz="1200" b="1" dirty="0" smtClean="0">
                <a:solidFill>
                  <a:srgbClr val="0000FF"/>
                </a:solidFill>
                <a:latin typeface="+mn-ea"/>
              </a:rPr>
              <a:t> </a:t>
            </a:r>
            <a:r>
              <a:rPr lang="ko-KR" altLang="en-US" sz="1200" b="1" dirty="0" smtClean="0">
                <a:solidFill>
                  <a:srgbClr val="0000FF"/>
                </a:solidFill>
                <a:latin typeface="+mn-ea"/>
              </a:rPr>
              <a:t>등이 단선에 따른 차이 존재</a:t>
            </a:r>
            <a:endParaRPr lang="ko-KR" altLang="en-US" sz="1200" b="1" dirty="0">
              <a:solidFill>
                <a:srgbClr val="0000FF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95602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HdqTTBEkSKkZdYkg2.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HdqTTBEkSKkZdYkg2.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HdqTTBEkSKkZdYkg2.Qw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MMClips>0</MMClips>
  <HiddenSlides>0</HiddenSlides>
  <LinksUpToDate>false</LinksUpToDate>
  <Notes>1</Notes>
  <Paragraphs>1531</Paragraphs>
  <PresentationFormat>A4 용지(210x297mm)</PresentationFormat>
  <ScaleCrop>false</ScaleCrop>
  <Slides>28</Slides>
  <SharedDoc>false</SharedDoc>
  <HyperlinksChanged>false</HyperlinksChanged>
  <AppVersion>16.0000</AppVersion>
  <Words>4758</Words>
  <TotalTime>0</TotalTime>
  <Application>Microsoft Office PowerPoint</Applicat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modified xsi:type="dcterms:W3CDTF">2023-09-25T05:57:09Z</dcterms:modified>
  <cp:lastModifiedBy>박정희(Jung Hee Park)/Cloud신사업팀</cp:lastModifiedBy>
  <cp:revision>24</cp:revision>
</cp:coreProperties>
</file>

<file path=docProps/custom.xml><?xml version="1.0" encoding="utf-8"?>
<Properties xmlns="http://schemas.openxmlformats.org/officeDocument/2006/custom-properties" xmlns:vt="http://schemas.openxmlformats.org/officeDocument/2006/docPropsVTypes"/>
</file>